
<file path=[Content_Types].xml><?xml version="1.0" encoding="utf-8"?>
<Types xmlns="http://schemas.openxmlformats.org/package/2006/content-types"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703" r:id="rId1"/>
  </p:sldMasterIdLst>
  <p:notesMasterIdLst>
    <p:notesMasterId r:id="rId8"/>
  </p:notesMasterIdLst>
  <p:sldIdLst>
    <p:sldId id="256" r:id="rId2"/>
    <p:sldId id="262" r:id="rId3"/>
    <p:sldId id="259" r:id="rId4"/>
    <p:sldId id="315" r:id="rId5"/>
    <p:sldId id="257" r:id="rId6"/>
    <p:sldId id="263" r:id="rId7"/>
  </p:sldIdLst>
  <p:sldSz cx="12192000" cy="6858000"/>
  <p:notesSz cx="6858000" cy="9144000"/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C8C9C7"/>
    <a:srgbClr val="53565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8011" autoAdjust="0"/>
    <p:restoredTop sz="94660"/>
  </p:normalViewPr>
  <p:slideViewPr>
    <p:cSldViewPr snapToGrid="0">
      <p:cViewPr varScale="1">
        <p:scale>
          <a:sx n="110" d="100"/>
          <a:sy n="110" d="100"/>
        </p:scale>
        <p:origin x="456" y="19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theme" Target="theme/theme1.xml"/><Relationship Id="rId5" Type="http://schemas.openxmlformats.org/officeDocument/2006/relationships/slide" Target="slides/slide4.xml"/><Relationship Id="rId10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presProps" Target="presProp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00DC4E-6B08-46ED-8D08-6A521AB6AF46}" type="datetimeFigureOut">
              <a:rPr lang="sv-SE" smtClean="0"/>
              <a:t>2019-02-26</a:t>
            </a:fld>
            <a:endParaRPr lang="sv-SE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sv-SE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40CCAAE-9961-4CE3-9C52-D0A1DBFF1B9A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1113834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0CCAAE-9961-4CE3-9C52-D0A1DBFF1B9A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442702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240CCAAE-9961-4CE3-9C52-D0A1DBFF1B9A}" type="slidenum">
              <a:rPr lang="en-US" smtClean="0"/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9972852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Rubrikbil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ScaniaWordmark"/>
          <p:cNvSpPr>
            <a:spLocks noEditPoints="1"/>
          </p:cNvSpPr>
          <p:nvPr/>
        </p:nvSpPr>
        <p:spPr bwMode="auto">
          <a:xfrm>
            <a:off x="9852144" y="6215608"/>
            <a:ext cx="2026167" cy="343475"/>
          </a:xfrm>
          <a:custGeom>
            <a:avLst/>
            <a:gdLst>
              <a:gd name="T0" fmla="*/ 287 w 676"/>
              <a:gd name="T1" fmla="*/ 65 h 112"/>
              <a:gd name="T2" fmla="*/ 316 w 676"/>
              <a:gd name="T3" fmla="*/ 65 h 112"/>
              <a:gd name="T4" fmla="*/ 493 w 676"/>
              <a:gd name="T5" fmla="*/ 107 h 112"/>
              <a:gd name="T6" fmla="*/ 455 w 676"/>
              <a:gd name="T7" fmla="*/ 4 h 112"/>
              <a:gd name="T8" fmla="*/ 414 w 676"/>
              <a:gd name="T9" fmla="*/ 4 h 112"/>
              <a:gd name="T10" fmla="*/ 365 w 676"/>
              <a:gd name="T11" fmla="*/ 88 h 112"/>
              <a:gd name="T12" fmla="*/ 271 w 676"/>
              <a:gd name="T13" fmla="*/ 4 h 112"/>
              <a:gd name="T14" fmla="*/ 209 w 676"/>
              <a:gd name="T15" fmla="*/ 65 h 112"/>
              <a:gd name="T16" fmla="*/ 166 w 676"/>
              <a:gd name="T17" fmla="*/ 56 h 112"/>
              <a:gd name="T18" fmla="*/ 209 w 676"/>
              <a:gd name="T19" fmla="*/ 44 h 112"/>
              <a:gd name="T20" fmla="*/ 251 w 676"/>
              <a:gd name="T21" fmla="*/ 41 h 112"/>
              <a:gd name="T22" fmla="*/ 125 w 676"/>
              <a:gd name="T23" fmla="*/ 56 h 112"/>
              <a:gd name="T24" fmla="*/ 90 w 676"/>
              <a:gd name="T25" fmla="*/ 44 h 112"/>
              <a:gd name="T26" fmla="*/ 46 w 676"/>
              <a:gd name="T27" fmla="*/ 33 h 112"/>
              <a:gd name="T28" fmla="*/ 80 w 676"/>
              <a:gd name="T29" fmla="*/ 36 h 112"/>
              <a:gd name="T30" fmla="*/ 123 w 676"/>
              <a:gd name="T31" fmla="*/ 34 h 112"/>
              <a:gd name="T32" fmla="*/ 3 w 676"/>
              <a:gd name="T33" fmla="*/ 36 h 112"/>
              <a:gd name="T34" fmla="*/ 70 w 676"/>
              <a:gd name="T35" fmla="*/ 70 h 112"/>
              <a:gd name="T36" fmla="*/ 66 w 676"/>
              <a:gd name="T37" fmla="*/ 87 h 112"/>
              <a:gd name="T38" fmla="*/ 0 w 676"/>
              <a:gd name="T39" fmla="*/ 73 h 112"/>
              <a:gd name="T40" fmla="*/ 64 w 676"/>
              <a:gd name="T41" fmla="*/ 111 h 112"/>
              <a:gd name="T42" fmla="*/ 188 w 676"/>
              <a:gd name="T43" fmla="*/ 112 h 112"/>
              <a:gd name="T44" fmla="*/ 231 w 676"/>
              <a:gd name="T45" fmla="*/ 107 h 112"/>
              <a:gd name="T46" fmla="*/ 277 w 676"/>
              <a:gd name="T47" fmla="*/ 92 h 112"/>
              <a:gd name="T48" fmla="*/ 332 w 676"/>
              <a:gd name="T49" fmla="*/ 107 h 112"/>
              <a:gd name="T50" fmla="*/ 373 w 676"/>
              <a:gd name="T51" fmla="*/ 107 h 112"/>
              <a:gd name="T52" fmla="*/ 404 w 676"/>
              <a:gd name="T53" fmla="*/ 48 h 112"/>
              <a:gd name="T54" fmla="*/ 619 w 676"/>
              <a:gd name="T55" fmla="*/ 65 h 112"/>
              <a:gd name="T56" fmla="*/ 605 w 676"/>
              <a:gd name="T57" fmla="*/ 28 h 112"/>
              <a:gd name="T58" fmla="*/ 676 w 676"/>
              <a:gd name="T59" fmla="*/ 107 h 112"/>
              <a:gd name="T60" fmla="*/ 574 w 676"/>
              <a:gd name="T61" fmla="*/ 4 h 112"/>
              <a:gd name="T62" fmla="*/ 542 w 676"/>
              <a:gd name="T63" fmla="*/ 4 h 112"/>
              <a:gd name="T64" fmla="*/ 503 w 676"/>
              <a:gd name="T65" fmla="*/ 107 h 112"/>
              <a:gd name="T66" fmla="*/ 542 w 676"/>
              <a:gd name="T67" fmla="*/ 107 h 112"/>
              <a:gd name="T68" fmla="*/ 580 w 676"/>
              <a:gd name="T69" fmla="*/ 92 h 112"/>
              <a:gd name="T70" fmla="*/ 635 w 676"/>
              <a:gd name="T71" fmla="*/ 10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6" h="112">
                <a:moveTo>
                  <a:pt x="316" y="65"/>
                </a:moveTo>
                <a:cubicBezTo>
                  <a:pt x="287" y="65"/>
                  <a:pt x="287" y="65"/>
                  <a:pt x="287" y="65"/>
                </a:cubicBezTo>
                <a:cubicBezTo>
                  <a:pt x="302" y="28"/>
                  <a:pt x="302" y="28"/>
                  <a:pt x="302" y="28"/>
                </a:cubicBezTo>
                <a:lnTo>
                  <a:pt x="316" y="65"/>
                </a:lnTo>
                <a:close/>
                <a:moveTo>
                  <a:pt x="448" y="107"/>
                </a:moveTo>
                <a:cubicBezTo>
                  <a:pt x="493" y="107"/>
                  <a:pt x="493" y="107"/>
                  <a:pt x="493" y="107"/>
                </a:cubicBezTo>
                <a:cubicBezTo>
                  <a:pt x="493" y="4"/>
                  <a:pt x="493" y="4"/>
                  <a:pt x="493" y="4"/>
                </a:cubicBezTo>
                <a:cubicBezTo>
                  <a:pt x="455" y="4"/>
                  <a:pt x="455" y="4"/>
                  <a:pt x="455" y="4"/>
                </a:cubicBezTo>
                <a:cubicBezTo>
                  <a:pt x="455" y="58"/>
                  <a:pt x="455" y="58"/>
                  <a:pt x="455" y="58"/>
                </a:cubicBezTo>
                <a:cubicBezTo>
                  <a:pt x="414" y="4"/>
                  <a:pt x="414" y="4"/>
                  <a:pt x="414" y="4"/>
                </a:cubicBezTo>
                <a:cubicBezTo>
                  <a:pt x="365" y="4"/>
                  <a:pt x="365" y="4"/>
                  <a:pt x="365" y="4"/>
                </a:cubicBezTo>
                <a:cubicBezTo>
                  <a:pt x="365" y="88"/>
                  <a:pt x="365" y="88"/>
                  <a:pt x="365" y="88"/>
                </a:cubicBezTo>
                <a:cubicBezTo>
                  <a:pt x="333" y="4"/>
                  <a:pt x="333" y="4"/>
                  <a:pt x="333" y="4"/>
                </a:cubicBezTo>
                <a:cubicBezTo>
                  <a:pt x="271" y="4"/>
                  <a:pt x="271" y="4"/>
                  <a:pt x="271" y="4"/>
                </a:cubicBezTo>
                <a:cubicBezTo>
                  <a:pt x="247" y="65"/>
                  <a:pt x="247" y="65"/>
                  <a:pt x="247" y="65"/>
                </a:cubicBezTo>
                <a:cubicBezTo>
                  <a:pt x="209" y="65"/>
                  <a:pt x="209" y="65"/>
                  <a:pt x="209" y="65"/>
                </a:cubicBezTo>
                <a:cubicBezTo>
                  <a:pt x="207" y="77"/>
                  <a:pt x="200" y="83"/>
                  <a:pt x="188" y="83"/>
                </a:cubicBezTo>
                <a:cubicBezTo>
                  <a:pt x="174" y="83"/>
                  <a:pt x="166" y="73"/>
                  <a:pt x="166" y="56"/>
                </a:cubicBezTo>
                <a:cubicBezTo>
                  <a:pt x="166" y="39"/>
                  <a:pt x="174" y="28"/>
                  <a:pt x="188" y="28"/>
                </a:cubicBezTo>
                <a:cubicBezTo>
                  <a:pt x="200" y="28"/>
                  <a:pt x="207" y="34"/>
                  <a:pt x="209" y="44"/>
                </a:cubicBezTo>
                <a:cubicBezTo>
                  <a:pt x="251" y="44"/>
                  <a:pt x="251" y="44"/>
                  <a:pt x="251" y="44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51" y="18"/>
                  <a:pt x="231" y="0"/>
                  <a:pt x="188" y="0"/>
                </a:cubicBezTo>
                <a:cubicBezTo>
                  <a:pt x="142" y="0"/>
                  <a:pt x="125" y="23"/>
                  <a:pt x="125" y="56"/>
                </a:cubicBezTo>
                <a:cubicBezTo>
                  <a:pt x="125" y="56"/>
                  <a:pt x="125" y="57"/>
                  <a:pt x="125" y="58"/>
                </a:cubicBezTo>
                <a:cubicBezTo>
                  <a:pt x="119" y="51"/>
                  <a:pt x="108" y="47"/>
                  <a:pt x="90" y="44"/>
                </a:cubicBezTo>
                <a:cubicBezTo>
                  <a:pt x="63" y="40"/>
                  <a:pt x="63" y="40"/>
                  <a:pt x="63" y="40"/>
                </a:cubicBezTo>
                <a:cubicBezTo>
                  <a:pt x="53" y="39"/>
                  <a:pt x="46" y="38"/>
                  <a:pt x="46" y="33"/>
                </a:cubicBezTo>
                <a:cubicBezTo>
                  <a:pt x="46" y="28"/>
                  <a:pt x="50" y="24"/>
                  <a:pt x="61" y="24"/>
                </a:cubicBezTo>
                <a:cubicBezTo>
                  <a:pt x="73" y="24"/>
                  <a:pt x="80" y="29"/>
                  <a:pt x="80" y="36"/>
                </a:cubicBezTo>
                <a:cubicBezTo>
                  <a:pt x="123" y="36"/>
                  <a:pt x="123" y="36"/>
                  <a:pt x="123" y="36"/>
                </a:cubicBezTo>
                <a:cubicBezTo>
                  <a:pt x="123" y="34"/>
                  <a:pt x="123" y="34"/>
                  <a:pt x="123" y="34"/>
                </a:cubicBezTo>
                <a:cubicBezTo>
                  <a:pt x="123" y="13"/>
                  <a:pt x="103" y="0"/>
                  <a:pt x="63" y="0"/>
                </a:cubicBezTo>
                <a:cubicBezTo>
                  <a:pt x="21" y="0"/>
                  <a:pt x="3" y="15"/>
                  <a:pt x="3" y="36"/>
                </a:cubicBezTo>
                <a:cubicBezTo>
                  <a:pt x="3" y="53"/>
                  <a:pt x="14" y="62"/>
                  <a:pt x="39" y="66"/>
                </a:cubicBezTo>
                <a:cubicBezTo>
                  <a:pt x="70" y="70"/>
                  <a:pt x="70" y="70"/>
                  <a:pt x="70" y="70"/>
                </a:cubicBezTo>
                <a:cubicBezTo>
                  <a:pt x="80" y="72"/>
                  <a:pt x="84" y="74"/>
                  <a:pt x="84" y="78"/>
                </a:cubicBezTo>
                <a:cubicBezTo>
                  <a:pt x="84" y="84"/>
                  <a:pt x="78" y="87"/>
                  <a:pt x="66" y="87"/>
                </a:cubicBezTo>
                <a:cubicBezTo>
                  <a:pt x="52" y="87"/>
                  <a:pt x="45" y="81"/>
                  <a:pt x="45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98"/>
                  <a:pt x="22" y="111"/>
                  <a:pt x="64" y="111"/>
                </a:cubicBezTo>
                <a:cubicBezTo>
                  <a:pt x="103" y="111"/>
                  <a:pt x="126" y="103"/>
                  <a:pt x="129" y="81"/>
                </a:cubicBezTo>
                <a:cubicBezTo>
                  <a:pt x="137" y="100"/>
                  <a:pt x="156" y="112"/>
                  <a:pt x="188" y="112"/>
                </a:cubicBezTo>
                <a:cubicBezTo>
                  <a:pt x="213" y="112"/>
                  <a:pt x="228" y="105"/>
                  <a:pt x="236" y="94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271" y="107"/>
                  <a:pt x="271" y="107"/>
                  <a:pt x="271" y="107"/>
                </a:cubicBezTo>
                <a:cubicBezTo>
                  <a:pt x="277" y="92"/>
                  <a:pt x="277" y="92"/>
                  <a:pt x="277" y="92"/>
                </a:cubicBezTo>
                <a:cubicBezTo>
                  <a:pt x="326" y="92"/>
                  <a:pt x="326" y="92"/>
                  <a:pt x="326" y="92"/>
                </a:cubicBezTo>
                <a:cubicBezTo>
                  <a:pt x="332" y="107"/>
                  <a:pt x="332" y="107"/>
                  <a:pt x="332" y="107"/>
                </a:cubicBezTo>
                <a:cubicBezTo>
                  <a:pt x="365" y="107"/>
                  <a:pt x="365" y="107"/>
                  <a:pt x="365" y="107"/>
                </a:cubicBezTo>
                <a:cubicBezTo>
                  <a:pt x="373" y="107"/>
                  <a:pt x="373" y="107"/>
                  <a:pt x="373" y="107"/>
                </a:cubicBezTo>
                <a:cubicBezTo>
                  <a:pt x="404" y="107"/>
                  <a:pt x="404" y="107"/>
                  <a:pt x="404" y="107"/>
                </a:cubicBezTo>
                <a:cubicBezTo>
                  <a:pt x="404" y="48"/>
                  <a:pt x="404" y="48"/>
                  <a:pt x="404" y="48"/>
                </a:cubicBezTo>
                <a:lnTo>
                  <a:pt x="448" y="107"/>
                </a:lnTo>
                <a:close/>
                <a:moveTo>
                  <a:pt x="619" y="65"/>
                </a:moveTo>
                <a:cubicBezTo>
                  <a:pt x="591" y="65"/>
                  <a:pt x="591" y="65"/>
                  <a:pt x="591" y="65"/>
                </a:cubicBezTo>
                <a:cubicBezTo>
                  <a:pt x="605" y="28"/>
                  <a:pt x="605" y="28"/>
                  <a:pt x="605" y="28"/>
                </a:cubicBezTo>
                <a:lnTo>
                  <a:pt x="619" y="65"/>
                </a:lnTo>
                <a:close/>
                <a:moveTo>
                  <a:pt x="676" y="107"/>
                </a:moveTo>
                <a:cubicBezTo>
                  <a:pt x="637" y="4"/>
                  <a:pt x="637" y="4"/>
                  <a:pt x="637" y="4"/>
                </a:cubicBezTo>
                <a:cubicBezTo>
                  <a:pt x="574" y="4"/>
                  <a:pt x="574" y="4"/>
                  <a:pt x="574" y="4"/>
                </a:cubicBezTo>
                <a:cubicBezTo>
                  <a:pt x="542" y="88"/>
                  <a:pt x="542" y="88"/>
                  <a:pt x="542" y="88"/>
                </a:cubicBezTo>
                <a:cubicBezTo>
                  <a:pt x="542" y="4"/>
                  <a:pt x="542" y="4"/>
                  <a:pt x="542" y="4"/>
                </a:cubicBezTo>
                <a:cubicBezTo>
                  <a:pt x="503" y="4"/>
                  <a:pt x="503" y="4"/>
                  <a:pt x="503" y="4"/>
                </a:cubicBezTo>
                <a:cubicBezTo>
                  <a:pt x="503" y="107"/>
                  <a:pt x="503" y="107"/>
                  <a:pt x="503" y="107"/>
                </a:cubicBezTo>
                <a:cubicBezTo>
                  <a:pt x="535" y="107"/>
                  <a:pt x="535" y="107"/>
                  <a:pt x="535" y="107"/>
                </a:cubicBezTo>
                <a:cubicBezTo>
                  <a:pt x="542" y="107"/>
                  <a:pt x="542" y="107"/>
                  <a:pt x="542" y="107"/>
                </a:cubicBezTo>
                <a:cubicBezTo>
                  <a:pt x="575" y="107"/>
                  <a:pt x="575" y="107"/>
                  <a:pt x="575" y="107"/>
                </a:cubicBezTo>
                <a:cubicBezTo>
                  <a:pt x="580" y="92"/>
                  <a:pt x="580" y="92"/>
                  <a:pt x="580" y="92"/>
                </a:cubicBezTo>
                <a:cubicBezTo>
                  <a:pt x="630" y="92"/>
                  <a:pt x="630" y="92"/>
                  <a:pt x="630" y="92"/>
                </a:cubicBezTo>
                <a:cubicBezTo>
                  <a:pt x="635" y="107"/>
                  <a:pt x="635" y="107"/>
                  <a:pt x="635" y="107"/>
                </a:cubicBezTo>
                <a:lnTo>
                  <a:pt x="676" y="107"/>
                </a:lnTo>
                <a:close/>
              </a:path>
            </a:pathLst>
          </a:custGeom>
          <a:solidFill>
            <a:srgbClr val="FAFA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8" y="2646947"/>
            <a:ext cx="10152062" cy="2310064"/>
          </a:xfrm>
        </p:spPr>
        <p:txBody>
          <a:bodyPr anchor="t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5939" y="1412875"/>
            <a:ext cx="10152062" cy="1075642"/>
          </a:xfrm>
        </p:spPr>
        <p:txBody>
          <a:bodyPr anchor="b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cania Office Headline" panose="00000505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Your name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-135898"/>
            <a:ext cx="50494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itle Slide</a:t>
            </a:r>
          </a:p>
        </p:txBody>
      </p:sp>
      <p:pic>
        <p:nvPicPr>
          <p:cNvPr id="7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684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Divider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8" y="1120654"/>
            <a:ext cx="10152062" cy="2310064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5939" y="3485722"/>
            <a:ext cx="10152062" cy="1075642"/>
          </a:xfrm>
        </p:spPr>
        <p:txBody>
          <a:bodyPr anchor="t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cania Office Headline" panose="00000505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-135898"/>
            <a:ext cx="1118896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Chapter Divider - Blue</a:t>
            </a:r>
          </a:p>
        </p:txBody>
      </p:sp>
      <p:pic>
        <p:nvPicPr>
          <p:cNvPr id="5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815132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Chapter Divider - Grey">
    <p:bg>
      <p:bgPr>
        <a:solidFill>
          <a:srgbClr val="535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8" y="1120654"/>
            <a:ext cx="10152062" cy="2310064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5939" y="3485722"/>
            <a:ext cx="10152062" cy="1075642"/>
          </a:xfrm>
        </p:spPr>
        <p:txBody>
          <a:bodyPr anchor="t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cania Office Headline" panose="00000505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6" name="TextBox 5"/>
          <p:cNvSpPr txBox="1"/>
          <p:nvPr/>
        </p:nvSpPr>
        <p:spPr>
          <a:xfrm>
            <a:off x="0" y="-135898"/>
            <a:ext cx="113332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Chapter Divider - Grey</a:t>
            </a:r>
          </a:p>
        </p:txBody>
      </p:sp>
      <p:pic>
        <p:nvPicPr>
          <p:cNvPr id="5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343275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hapter Divider - Image">
    <p:bg>
      <p:bgPr>
        <a:solidFill>
          <a:srgbClr val="C8C9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80000">
            <a:norm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/>
              <a:t>Select the image Placeholder and use an image from Scania Image Bank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5939" y="3485722"/>
            <a:ext cx="10152062" cy="1075642"/>
          </a:xfrm>
        </p:spPr>
        <p:txBody>
          <a:bodyPr anchor="t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cania Office Headline" panose="00000505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text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8" y="1120654"/>
            <a:ext cx="10152062" cy="2310064"/>
          </a:xfrm>
        </p:spPr>
        <p:txBody>
          <a:bodyPr anchor="b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pic>
        <p:nvPicPr>
          <p:cNvPr id="8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  <p:sp>
        <p:nvSpPr>
          <p:cNvPr id="9" name="TextBox 8"/>
          <p:cNvSpPr txBox="1"/>
          <p:nvPr/>
        </p:nvSpPr>
        <p:spPr>
          <a:xfrm>
            <a:off x="0" y="-135898"/>
            <a:ext cx="1205458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Chapter Divider - Image</a:t>
            </a:r>
          </a:p>
        </p:txBody>
      </p:sp>
    </p:spTree>
    <p:extLst>
      <p:ext uri="{BB962C8B-B14F-4D97-AF65-F5344CB8AC3E}">
        <p14:creationId xmlns:p14="http://schemas.microsoft.com/office/powerpoint/2010/main" val="275793350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83C6E6-4335-4428-AB21-BBACF8148F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08438" y="1412875"/>
            <a:ext cx="4175124" cy="2547233"/>
          </a:xfrm>
        </p:spPr>
        <p:txBody>
          <a:bodyPr anchor="b">
            <a:noAutofit/>
          </a:bodyPr>
          <a:lstStyle>
            <a:lvl1pPr marL="0" indent="0">
              <a:buNone/>
              <a:defRPr sz="2200" baseline="0">
                <a:solidFill>
                  <a:schemeClr val="bg1"/>
                </a:solidFill>
                <a:latin typeface="+mn-lt"/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“Click to add quote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d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”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08438" y="4118235"/>
            <a:ext cx="4175124" cy="584393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Click to add source of quota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-135898"/>
            <a:ext cx="63158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Quote - Blue</a:t>
            </a:r>
          </a:p>
        </p:txBody>
      </p:sp>
      <p:pic>
        <p:nvPicPr>
          <p:cNvPr id="11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425496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- Grey">
    <p:bg>
      <p:bgPr>
        <a:solidFill>
          <a:srgbClr val="535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83C6E6-4335-4428-AB21-BBACF8148F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08438" y="1412875"/>
            <a:ext cx="4175124" cy="2547233"/>
          </a:xfrm>
        </p:spPr>
        <p:txBody>
          <a:bodyPr anchor="b">
            <a:no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“Click to add quote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d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”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08438" y="4118235"/>
            <a:ext cx="4175124" cy="584393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Click to add source of quotation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0" y="-135898"/>
            <a:ext cx="6460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Quote - Grey</a:t>
            </a:r>
          </a:p>
        </p:txBody>
      </p:sp>
      <p:pic>
        <p:nvPicPr>
          <p:cNvPr id="11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8419612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Quote - Imag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4"/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80000">
            <a:normAutofit/>
          </a:bodyPr>
          <a:lstStyle>
            <a:lvl1pPr marL="0" indent="0" algn="ct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Select the image Placeholder and use an image from Scania Image Bank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0183C6E6-4335-4428-AB21-BBACF8148F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4008438" y="1412875"/>
            <a:ext cx="4175124" cy="2547233"/>
          </a:xfrm>
        </p:spPr>
        <p:txBody>
          <a:bodyPr anchor="b">
            <a:noAutofit/>
          </a:bodyPr>
          <a:lstStyle>
            <a:lvl1pPr marL="0" indent="0">
              <a:buNone/>
              <a:defRPr sz="2200">
                <a:solidFill>
                  <a:schemeClr val="bg1"/>
                </a:solidFill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“Click to add quote, 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. </a:t>
            </a:r>
            <a:r>
              <a:rPr lang="en-US" dirty="0" err="1"/>
              <a:t>Morbi</a:t>
            </a:r>
            <a:r>
              <a:rPr lang="en-US" dirty="0"/>
              <a:t>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orci</a:t>
            </a:r>
            <a:r>
              <a:rPr lang="en-US" dirty="0"/>
              <a:t> id </a:t>
            </a:r>
            <a:r>
              <a:rPr lang="en-US" dirty="0" err="1"/>
              <a:t>purus</a:t>
            </a:r>
            <a:r>
              <a:rPr lang="en-US" dirty="0"/>
              <a:t> </a:t>
            </a:r>
            <a:r>
              <a:rPr lang="en-US" dirty="0" err="1"/>
              <a:t>elementum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.”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008438" y="4118235"/>
            <a:ext cx="4175124" cy="584393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200">
                <a:solidFill>
                  <a:schemeClr val="bg1"/>
                </a:solidFill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Click to add source of quotation</a:t>
            </a:r>
          </a:p>
        </p:txBody>
      </p:sp>
      <p:pic>
        <p:nvPicPr>
          <p:cNvPr id="11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  <p:sp>
        <p:nvSpPr>
          <p:cNvPr id="12" name="TextBox 11"/>
          <p:cNvSpPr txBox="1"/>
          <p:nvPr/>
        </p:nvSpPr>
        <p:spPr>
          <a:xfrm>
            <a:off x="0" y="-135898"/>
            <a:ext cx="71814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Quote - Image</a:t>
            </a:r>
          </a:p>
        </p:txBody>
      </p:sp>
    </p:spTree>
    <p:extLst>
      <p:ext uri="{BB962C8B-B14F-4D97-AF65-F5344CB8AC3E}">
        <p14:creationId xmlns:p14="http://schemas.microsoft.com/office/powerpoint/2010/main" val="298265001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Page -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743880"/>
            <a:ext cx="4175124" cy="58609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bg1"/>
                </a:solidFill>
                <a:latin typeface="Scania Office Bold" panose="00000800000000000000" pitchFamily="2" charset="0"/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Click to add your nam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5344932"/>
            <a:ext cx="4175124" cy="104967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chemeClr val="bg1"/>
                </a:solidFill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Click to add Company name, Title, Department, Phone number,</a:t>
            </a:r>
            <a:br>
              <a:rPr lang="en-US" dirty="0"/>
            </a:br>
            <a:r>
              <a:rPr lang="en-US" dirty="0"/>
              <a:t>E-mail address, Web address</a:t>
            </a:r>
          </a:p>
        </p:txBody>
      </p:sp>
      <p:sp>
        <p:nvSpPr>
          <p:cNvPr id="6" name="ScaniaWordmark"/>
          <p:cNvSpPr>
            <a:spLocks noEditPoints="1"/>
          </p:cNvSpPr>
          <p:nvPr/>
        </p:nvSpPr>
        <p:spPr bwMode="auto">
          <a:xfrm>
            <a:off x="9852144" y="6215608"/>
            <a:ext cx="2026167" cy="343475"/>
          </a:xfrm>
          <a:custGeom>
            <a:avLst/>
            <a:gdLst>
              <a:gd name="T0" fmla="*/ 287 w 676"/>
              <a:gd name="T1" fmla="*/ 65 h 112"/>
              <a:gd name="T2" fmla="*/ 316 w 676"/>
              <a:gd name="T3" fmla="*/ 65 h 112"/>
              <a:gd name="T4" fmla="*/ 493 w 676"/>
              <a:gd name="T5" fmla="*/ 107 h 112"/>
              <a:gd name="T6" fmla="*/ 455 w 676"/>
              <a:gd name="T7" fmla="*/ 4 h 112"/>
              <a:gd name="T8" fmla="*/ 414 w 676"/>
              <a:gd name="T9" fmla="*/ 4 h 112"/>
              <a:gd name="T10" fmla="*/ 365 w 676"/>
              <a:gd name="T11" fmla="*/ 88 h 112"/>
              <a:gd name="T12" fmla="*/ 271 w 676"/>
              <a:gd name="T13" fmla="*/ 4 h 112"/>
              <a:gd name="T14" fmla="*/ 209 w 676"/>
              <a:gd name="T15" fmla="*/ 65 h 112"/>
              <a:gd name="T16" fmla="*/ 166 w 676"/>
              <a:gd name="T17" fmla="*/ 56 h 112"/>
              <a:gd name="T18" fmla="*/ 209 w 676"/>
              <a:gd name="T19" fmla="*/ 44 h 112"/>
              <a:gd name="T20" fmla="*/ 251 w 676"/>
              <a:gd name="T21" fmla="*/ 41 h 112"/>
              <a:gd name="T22" fmla="*/ 125 w 676"/>
              <a:gd name="T23" fmla="*/ 56 h 112"/>
              <a:gd name="T24" fmla="*/ 90 w 676"/>
              <a:gd name="T25" fmla="*/ 44 h 112"/>
              <a:gd name="T26" fmla="*/ 46 w 676"/>
              <a:gd name="T27" fmla="*/ 33 h 112"/>
              <a:gd name="T28" fmla="*/ 80 w 676"/>
              <a:gd name="T29" fmla="*/ 36 h 112"/>
              <a:gd name="T30" fmla="*/ 123 w 676"/>
              <a:gd name="T31" fmla="*/ 34 h 112"/>
              <a:gd name="T32" fmla="*/ 3 w 676"/>
              <a:gd name="T33" fmla="*/ 36 h 112"/>
              <a:gd name="T34" fmla="*/ 70 w 676"/>
              <a:gd name="T35" fmla="*/ 70 h 112"/>
              <a:gd name="T36" fmla="*/ 66 w 676"/>
              <a:gd name="T37" fmla="*/ 87 h 112"/>
              <a:gd name="T38" fmla="*/ 0 w 676"/>
              <a:gd name="T39" fmla="*/ 73 h 112"/>
              <a:gd name="T40" fmla="*/ 64 w 676"/>
              <a:gd name="T41" fmla="*/ 111 h 112"/>
              <a:gd name="T42" fmla="*/ 188 w 676"/>
              <a:gd name="T43" fmla="*/ 112 h 112"/>
              <a:gd name="T44" fmla="*/ 231 w 676"/>
              <a:gd name="T45" fmla="*/ 107 h 112"/>
              <a:gd name="T46" fmla="*/ 277 w 676"/>
              <a:gd name="T47" fmla="*/ 92 h 112"/>
              <a:gd name="T48" fmla="*/ 332 w 676"/>
              <a:gd name="T49" fmla="*/ 107 h 112"/>
              <a:gd name="T50" fmla="*/ 373 w 676"/>
              <a:gd name="T51" fmla="*/ 107 h 112"/>
              <a:gd name="T52" fmla="*/ 404 w 676"/>
              <a:gd name="T53" fmla="*/ 48 h 112"/>
              <a:gd name="T54" fmla="*/ 619 w 676"/>
              <a:gd name="T55" fmla="*/ 65 h 112"/>
              <a:gd name="T56" fmla="*/ 605 w 676"/>
              <a:gd name="T57" fmla="*/ 28 h 112"/>
              <a:gd name="T58" fmla="*/ 676 w 676"/>
              <a:gd name="T59" fmla="*/ 107 h 112"/>
              <a:gd name="T60" fmla="*/ 574 w 676"/>
              <a:gd name="T61" fmla="*/ 4 h 112"/>
              <a:gd name="T62" fmla="*/ 542 w 676"/>
              <a:gd name="T63" fmla="*/ 4 h 112"/>
              <a:gd name="T64" fmla="*/ 503 w 676"/>
              <a:gd name="T65" fmla="*/ 107 h 112"/>
              <a:gd name="T66" fmla="*/ 542 w 676"/>
              <a:gd name="T67" fmla="*/ 107 h 112"/>
              <a:gd name="T68" fmla="*/ 580 w 676"/>
              <a:gd name="T69" fmla="*/ 92 h 112"/>
              <a:gd name="T70" fmla="*/ 635 w 676"/>
              <a:gd name="T71" fmla="*/ 10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6" h="112">
                <a:moveTo>
                  <a:pt x="316" y="65"/>
                </a:moveTo>
                <a:cubicBezTo>
                  <a:pt x="287" y="65"/>
                  <a:pt x="287" y="65"/>
                  <a:pt x="287" y="65"/>
                </a:cubicBezTo>
                <a:cubicBezTo>
                  <a:pt x="302" y="28"/>
                  <a:pt x="302" y="28"/>
                  <a:pt x="302" y="28"/>
                </a:cubicBezTo>
                <a:lnTo>
                  <a:pt x="316" y="65"/>
                </a:lnTo>
                <a:close/>
                <a:moveTo>
                  <a:pt x="448" y="107"/>
                </a:moveTo>
                <a:cubicBezTo>
                  <a:pt x="493" y="107"/>
                  <a:pt x="493" y="107"/>
                  <a:pt x="493" y="107"/>
                </a:cubicBezTo>
                <a:cubicBezTo>
                  <a:pt x="493" y="4"/>
                  <a:pt x="493" y="4"/>
                  <a:pt x="493" y="4"/>
                </a:cubicBezTo>
                <a:cubicBezTo>
                  <a:pt x="455" y="4"/>
                  <a:pt x="455" y="4"/>
                  <a:pt x="455" y="4"/>
                </a:cubicBezTo>
                <a:cubicBezTo>
                  <a:pt x="455" y="58"/>
                  <a:pt x="455" y="58"/>
                  <a:pt x="455" y="58"/>
                </a:cubicBezTo>
                <a:cubicBezTo>
                  <a:pt x="414" y="4"/>
                  <a:pt x="414" y="4"/>
                  <a:pt x="414" y="4"/>
                </a:cubicBezTo>
                <a:cubicBezTo>
                  <a:pt x="365" y="4"/>
                  <a:pt x="365" y="4"/>
                  <a:pt x="365" y="4"/>
                </a:cubicBezTo>
                <a:cubicBezTo>
                  <a:pt x="365" y="88"/>
                  <a:pt x="365" y="88"/>
                  <a:pt x="365" y="88"/>
                </a:cubicBezTo>
                <a:cubicBezTo>
                  <a:pt x="333" y="4"/>
                  <a:pt x="333" y="4"/>
                  <a:pt x="333" y="4"/>
                </a:cubicBezTo>
                <a:cubicBezTo>
                  <a:pt x="271" y="4"/>
                  <a:pt x="271" y="4"/>
                  <a:pt x="271" y="4"/>
                </a:cubicBezTo>
                <a:cubicBezTo>
                  <a:pt x="247" y="65"/>
                  <a:pt x="247" y="65"/>
                  <a:pt x="247" y="65"/>
                </a:cubicBezTo>
                <a:cubicBezTo>
                  <a:pt x="209" y="65"/>
                  <a:pt x="209" y="65"/>
                  <a:pt x="209" y="65"/>
                </a:cubicBezTo>
                <a:cubicBezTo>
                  <a:pt x="207" y="77"/>
                  <a:pt x="200" y="83"/>
                  <a:pt x="188" y="83"/>
                </a:cubicBezTo>
                <a:cubicBezTo>
                  <a:pt x="174" y="83"/>
                  <a:pt x="166" y="73"/>
                  <a:pt x="166" y="56"/>
                </a:cubicBezTo>
                <a:cubicBezTo>
                  <a:pt x="166" y="39"/>
                  <a:pt x="174" y="28"/>
                  <a:pt x="188" y="28"/>
                </a:cubicBezTo>
                <a:cubicBezTo>
                  <a:pt x="200" y="28"/>
                  <a:pt x="207" y="34"/>
                  <a:pt x="209" y="44"/>
                </a:cubicBezTo>
                <a:cubicBezTo>
                  <a:pt x="251" y="44"/>
                  <a:pt x="251" y="44"/>
                  <a:pt x="251" y="44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51" y="18"/>
                  <a:pt x="231" y="0"/>
                  <a:pt x="188" y="0"/>
                </a:cubicBezTo>
                <a:cubicBezTo>
                  <a:pt x="142" y="0"/>
                  <a:pt x="125" y="23"/>
                  <a:pt x="125" y="56"/>
                </a:cubicBezTo>
                <a:cubicBezTo>
                  <a:pt x="125" y="56"/>
                  <a:pt x="125" y="57"/>
                  <a:pt x="125" y="58"/>
                </a:cubicBezTo>
                <a:cubicBezTo>
                  <a:pt x="119" y="51"/>
                  <a:pt x="108" y="47"/>
                  <a:pt x="90" y="44"/>
                </a:cubicBezTo>
                <a:cubicBezTo>
                  <a:pt x="63" y="40"/>
                  <a:pt x="63" y="40"/>
                  <a:pt x="63" y="40"/>
                </a:cubicBezTo>
                <a:cubicBezTo>
                  <a:pt x="53" y="39"/>
                  <a:pt x="46" y="38"/>
                  <a:pt x="46" y="33"/>
                </a:cubicBezTo>
                <a:cubicBezTo>
                  <a:pt x="46" y="28"/>
                  <a:pt x="50" y="24"/>
                  <a:pt x="61" y="24"/>
                </a:cubicBezTo>
                <a:cubicBezTo>
                  <a:pt x="73" y="24"/>
                  <a:pt x="80" y="29"/>
                  <a:pt x="80" y="36"/>
                </a:cubicBezTo>
                <a:cubicBezTo>
                  <a:pt x="123" y="36"/>
                  <a:pt x="123" y="36"/>
                  <a:pt x="123" y="36"/>
                </a:cubicBezTo>
                <a:cubicBezTo>
                  <a:pt x="123" y="34"/>
                  <a:pt x="123" y="34"/>
                  <a:pt x="123" y="34"/>
                </a:cubicBezTo>
                <a:cubicBezTo>
                  <a:pt x="123" y="13"/>
                  <a:pt x="103" y="0"/>
                  <a:pt x="63" y="0"/>
                </a:cubicBezTo>
                <a:cubicBezTo>
                  <a:pt x="21" y="0"/>
                  <a:pt x="3" y="15"/>
                  <a:pt x="3" y="36"/>
                </a:cubicBezTo>
                <a:cubicBezTo>
                  <a:pt x="3" y="53"/>
                  <a:pt x="14" y="62"/>
                  <a:pt x="39" y="66"/>
                </a:cubicBezTo>
                <a:cubicBezTo>
                  <a:pt x="70" y="70"/>
                  <a:pt x="70" y="70"/>
                  <a:pt x="70" y="70"/>
                </a:cubicBezTo>
                <a:cubicBezTo>
                  <a:pt x="80" y="72"/>
                  <a:pt x="84" y="74"/>
                  <a:pt x="84" y="78"/>
                </a:cubicBezTo>
                <a:cubicBezTo>
                  <a:pt x="84" y="84"/>
                  <a:pt x="78" y="87"/>
                  <a:pt x="66" y="87"/>
                </a:cubicBezTo>
                <a:cubicBezTo>
                  <a:pt x="52" y="87"/>
                  <a:pt x="45" y="81"/>
                  <a:pt x="45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98"/>
                  <a:pt x="22" y="111"/>
                  <a:pt x="64" y="111"/>
                </a:cubicBezTo>
                <a:cubicBezTo>
                  <a:pt x="103" y="111"/>
                  <a:pt x="126" y="103"/>
                  <a:pt x="129" y="81"/>
                </a:cubicBezTo>
                <a:cubicBezTo>
                  <a:pt x="137" y="100"/>
                  <a:pt x="156" y="112"/>
                  <a:pt x="188" y="112"/>
                </a:cubicBezTo>
                <a:cubicBezTo>
                  <a:pt x="213" y="112"/>
                  <a:pt x="228" y="105"/>
                  <a:pt x="236" y="94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271" y="107"/>
                  <a:pt x="271" y="107"/>
                  <a:pt x="271" y="107"/>
                </a:cubicBezTo>
                <a:cubicBezTo>
                  <a:pt x="277" y="92"/>
                  <a:pt x="277" y="92"/>
                  <a:pt x="277" y="92"/>
                </a:cubicBezTo>
                <a:cubicBezTo>
                  <a:pt x="326" y="92"/>
                  <a:pt x="326" y="92"/>
                  <a:pt x="326" y="92"/>
                </a:cubicBezTo>
                <a:cubicBezTo>
                  <a:pt x="332" y="107"/>
                  <a:pt x="332" y="107"/>
                  <a:pt x="332" y="107"/>
                </a:cubicBezTo>
                <a:cubicBezTo>
                  <a:pt x="365" y="107"/>
                  <a:pt x="365" y="107"/>
                  <a:pt x="365" y="107"/>
                </a:cubicBezTo>
                <a:cubicBezTo>
                  <a:pt x="373" y="107"/>
                  <a:pt x="373" y="107"/>
                  <a:pt x="373" y="107"/>
                </a:cubicBezTo>
                <a:cubicBezTo>
                  <a:pt x="404" y="107"/>
                  <a:pt x="404" y="107"/>
                  <a:pt x="404" y="107"/>
                </a:cubicBezTo>
                <a:cubicBezTo>
                  <a:pt x="404" y="48"/>
                  <a:pt x="404" y="48"/>
                  <a:pt x="404" y="48"/>
                </a:cubicBezTo>
                <a:lnTo>
                  <a:pt x="448" y="107"/>
                </a:lnTo>
                <a:close/>
                <a:moveTo>
                  <a:pt x="619" y="65"/>
                </a:moveTo>
                <a:cubicBezTo>
                  <a:pt x="591" y="65"/>
                  <a:pt x="591" y="65"/>
                  <a:pt x="591" y="65"/>
                </a:cubicBezTo>
                <a:cubicBezTo>
                  <a:pt x="605" y="28"/>
                  <a:pt x="605" y="28"/>
                  <a:pt x="605" y="28"/>
                </a:cubicBezTo>
                <a:lnTo>
                  <a:pt x="619" y="65"/>
                </a:lnTo>
                <a:close/>
                <a:moveTo>
                  <a:pt x="676" y="107"/>
                </a:moveTo>
                <a:cubicBezTo>
                  <a:pt x="637" y="4"/>
                  <a:pt x="637" y="4"/>
                  <a:pt x="637" y="4"/>
                </a:cubicBezTo>
                <a:cubicBezTo>
                  <a:pt x="574" y="4"/>
                  <a:pt x="574" y="4"/>
                  <a:pt x="574" y="4"/>
                </a:cubicBezTo>
                <a:cubicBezTo>
                  <a:pt x="542" y="88"/>
                  <a:pt x="542" y="88"/>
                  <a:pt x="542" y="88"/>
                </a:cubicBezTo>
                <a:cubicBezTo>
                  <a:pt x="542" y="4"/>
                  <a:pt x="542" y="4"/>
                  <a:pt x="542" y="4"/>
                </a:cubicBezTo>
                <a:cubicBezTo>
                  <a:pt x="503" y="4"/>
                  <a:pt x="503" y="4"/>
                  <a:pt x="503" y="4"/>
                </a:cubicBezTo>
                <a:cubicBezTo>
                  <a:pt x="503" y="107"/>
                  <a:pt x="503" y="107"/>
                  <a:pt x="503" y="107"/>
                </a:cubicBezTo>
                <a:cubicBezTo>
                  <a:pt x="535" y="107"/>
                  <a:pt x="535" y="107"/>
                  <a:pt x="535" y="107"/>
                </a:cubicBezTo>
                <a:cubicBezTo>
                  <a:pt x="542" y="107"/>
                  <a:pt x="542" y="107"/>
                  <a:pt x="542" y="107"/>
                </a:cubicBezTo>
                <a:cubicBezTo>
                  <a:pt x="575" y="107"/>
                  <a:pt x="575" y="107"/>
                  <a:pt x="575" y="107"/>
                </a:cubicBezTo>
                <a:cubicBezTo>
                  <a:pt x="580" y="92"/>
                  <a:pt x="580" y="92"/>
                  <a:pt x="580" y="92"/>
                </a:cubicBezTo>
                <a:cubicBezTo>
                  <a:pt x="630" y="92"/>
                  <a:pt x="630" y="92"/>
                  <a:pt x="630" y="92"/>
                </a:cubicBezTo>
                <a:cubicBezTo>
                  <a:pt x="635" y="107"/>
                  <a:pt x="635" y="107"/>
                  <a:pt x="635" y="107"/>
                </a:cubicBezTo>
                <a:lnTo>
                  <a:pt x="676" y="107"/>
                </a:lnTo>
                <a:close/>
              </a:path>
            </a:pathLst>
          </a:custGeom>
          <a:solidFill>
            <a:srgbClr val="FAFA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0" y="-135898"/>
            <a:ext cx="82554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Last Page - Blue</a:t>
            </a:r>
          </a:p>
        </p:txBody>
      </p:sp>
      <p:pic>
        <p:nvPicPr>
          <p:cNvPr id="8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  <p:sp>
        <p:nvSpPr>
          <p:cNvPr id="11" name="ScaniaWordmark">
            <a:extLst>
              <a:ext uri="{FF2B5EF4-FFF2-40B4-BE49-F238E27FC236}">
                <a16:creationId xmlns:a16="http://schemas.microsoft.com/office/drawing/2014/main" id="{84421576-CD4F-4F51-94AF-516BFF6E5BAA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852144" y="6215608"/>
            <a:ext cx="2026167" cy="343475"/>
          </a:xfrm>
          <a:custGeom>
            <a:avLst/>
            <a:gdLst>
              <a:gd name="T0" fmla="*/ 287 w 676"/>
              <a:gd name="T1" fmla="*/ 65 h 112"/>
              <a:gd name="T2" fmla="*/ 316 w 676"/>
              <a:gd name="T3" fmla="*/ 65 h 112"/>
              <a:gd name="T4" fmla="*/ 493 w 676"/>
              <a:gd name="T5" fmla="*/ 107 h 112"/>
              <a:gd name="T6" fmla="*/ 455 w 676"/>
              <a:gd name="T7" fmla="*/ 4 h 112"/>
              <a:gd name="T8" fmla="*/ 414 w 676"/>
              <a:gd name="T9" fmla="*/ 4 h 112"/>
              <a:gd name="T10" fmla="*/ 365 w 676"/>
              <a:gd name="T11" fmla="*/ 88 h 112"/>
              <a:gd name="T12" fmla="*/ 271 w 676"/>
              <a:gd name="T13" fmla="*/ 4 h 112"/>
              <a:gd name="T14" fmla="*/ 209 w 676"/>
              <a:gd name="T15" fmla="*/ 65 h 112"/>
              <a:gd name="T16" fmla="*/ 166 w 676"/>
              <a:gd name="T17" fmla="*/ 56 h 112"/>
              <a:gd name="T18" fmla="*/ 209 w 676"/>
              <a:gd name="T19" fmla="*/ 44 h 112"/>
              <a:gd name="T20" fmla="*/ 251 w 676"/>
              <a:gd name="T21" fmla="*/ 41 h 112"/>
              <a:gd name="T22" fmla="*/ 125 w 676"/>
              <a:gd name="T23" fmla="*/ 56 h 112"/>
              <a:gd name="T24" fmla="*/ 90 w 676"/>
              <a:gd name="T25" fmla="*/ 44 h 112"/>
              <a:gd name="T26" fmla="*/ 46 w 676"/>
              <a:gd name="T27" fmla="*/ 33 h 112"/>
              <a:gd name="T28" fmla="*/ 80 w 676"/>
              <a:gd name="T29" fmla="*/ 36 h 112"/>
              <a:gd name="T30" fmla="*/ 123 w 676"/>
              <a:gd name="T31" fmla="*/ 34 h 112"/>
              <a:gd name="T32" fmla="*/ 3 w 676"/>
              <a:gd name="T33" fmla="*/ 36 h 112"/>
              <a:gd name="T34" fmla="*/ 70 w 676"/>
              <a:gd name="T35" fmla="*/ 70 h 112"/>
              <a:gd name="T36" fmla="*/ 66 w 676"/>
              <a:gd name="T37" fmla="*/ 87 h 112"/>
              <a:gd name="T38" fmla="*/ 0 w 676"/>
              <a:gd name="T39" fmla="*/ 73 h 112"/>
              <a:gd name="T40" fmla="*/ 64 w 676"/>
              <a:gd name="T41" fmla="*/ 111 h 112"/>
              <a:gd name="T42" fmla="*/ 188 w 676"/>
              <a:gd name="T43" fmla="*/ 112 h 112"/>
              <a:gd name="T44" fmla="*/ 231 w 676"/>
              <a:gd name="T45" fmla="*/ 107 h 112"/>
              <a:gd name="T46" fmla="*/ 277 w 676"/>
              <a:gd name="T47" fmla="*/ 92 h 112"/>
              <a:gd name="T48" fmla="*/ 332 w 676"/>
              <a:gd name="T49" fmla="*/ 107 h 112"/>
              <a:gd name="T50" fmla="*/ 373 w 676"/>
              <a:gd name="T51" fmla="*/ 107 h 112"/>
              <a:gd name="T52" fmla="*/ 404 w 676"/>
              <a:gd name="T53" fmla="*/ 48 h 112"/>
              <a:gd name="T54" fmla="*/ 619 w 676"/>
              <a:gd name="T55" fmla="*/ 65 h 112"/>
              <a:gd name="T56" fmla="*/ 605 w 676"/>
              <a:gd name="T57" fmla="*/ 28 h 112"/>
              <a:gd name="T58" fmla="*/ 676 w 676"/>
              <a:gd name="T59" fmla="*/ 107 h 112"/>
              <a:gd name="T60" fmla="*/ 574 w 676"/>
              <a:gd name="T61" fmla="*/ 4 h 112"/>
              <a:gd name="T62" fmla="*/ 542 w 676"/>
              <a:gd name="T63" fmla="*/ 4 h 112"/>
              <a:gd name="T64" fmla="*/ 503 w 676"/>
              <a:gd name="T65" fmla="*/ 107 h 112"/>
              <a:gd name="T66" fmla="*/ 542 w 676"/>
              <a:gd name="T67" fmla="*/ 107 h 112"/>
              <a:gd name="T68" fmla="*/ 580 w 676"/>
              <a:gd name="T69" fmla="*/ 92 h 112"/>
              <a:gd name="T70" fmla="*/ 635 w 676"/>
              <a:gd name="T71" fmla="*/ 10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6" h="112">
                <a:moveTo>
                  <a:pt x="316" y="65"/>
                </a:moveTo>
                <a:cubicBezTo>
                  <a:pt x="287" y="65"/>
                  <a:pt x="287" y="65"/>
                  <a:pt x="287" y="65"/>
                </a:cubicBezTo>
                <a:cubicBezTo>
                  <a:pt x="302" y="28"/>
                  <a:pt x="302" y="28"/>
                  <a:pt x="302" y="28"/>
                </a:cubicBezTo>
                <a:lnTo>
                  <a:pt x="316" y="65"/>
                </a:lnTo>
                <a:close/>
                <a:moveTo>
                  <a:pt x="448" y="107"/>
                </a:moveTo>
                <a:cubicBezTo>
                  <a:pt x="493" y="107"/>
                  <a:pt x="493" y="107"/>
                  <a:pt x="493" y="107"/>
                </a:cubicBezTo>
                <a:cubicBezTo>
                  <a:pt x="493" y="4"/>
                  <a:pt x="493" y="4"/>
                  <a:pt x="493" y="4"/>
                </a:cubicBezTo>
                <a:cubicBezTo>
                  <a:pt x="455" y="4"/>
                  <a:pt x="455" y="4"/>
                  <a:pt x="455" y="4"/>
                </a:cubicBezTo>
                <a:cubicBezTo>
                  <a:pt x="455" y="58"/>
                  <a:pt x="455" y="58"/>
                  <a:pt x="455" y="58"/>
                </a:cubicBezTo>
                <a:cubicBezTo>
                  <a:pt x="414" y="4"/>
                  <a:pt x="414" y="4"/>
                  <a:pt x="414" y="4"/>
                </a:cubicBezTo>
                <a:cubicBezTo>
                  <a:pt x="365" y="4"/>
                  <a:pt x="365" y="4"/>
                  <a:pt x="365" y="4"/>
                </a:cubicBezTo>
                <a:cubicBezTo>
                  <a:pt x="365" y="88"/>
                  <a:pt x="365" y="88"/>
                  <a:pt x="365" y="88"/>
                </a:cubicBezTo>
                <a:cubicBezTo>
                  <a:pt x="333" y="4"/>
                  <a:pt x="333" y="4"/>
                  <a:pt x="333" y="4"/>
                </a:cubicBezTo>
                <a:cubicBezTo>
                  <a:pt x="271" y="4"/>
                  <a:pt x="271" y="4"/>
                  <a:pt x="271" y="4"/>
                </a:cubicBezTo>
                <a:cubicBezTo>
                  <a:pt x="247" y="65"/>
                  <a:pt x="247" y="65"/>
                  <a:pt x="247" y="65"/>
                </a:cubicBezTo>
                <a:cubicBezTo>
                  <a:pt x="209" y="65"/>
                  <a:pt x="209" y="65"/>
                  <a:pt x="209" y="65"/>
                </a:cubicBezTo>
                <a:cubicBezTo>
                  <a:pt x="207" y="77"/>
                  <a:pt x="200" y="83"/>
                  <a:pt x="188" y="83"/>
                </a:cubicBezTo>
                <a:cubicBezTo>
                  <a:pt x="174" y="83"/>
                  <a:pt x="166" y="73"/>
                  <a:pt x="166" y="56"/>
                </a:cubicBezTo>
                <a:cubicBezTo>
                  <a:pt x="166" y="39"/>
                  <a:pt x="174" y="28"/>
                  <a:pt x="188" y="28"/>
                </a:cubicBezTo>
                <a:cubicBezTo>
                  <a:pt x="200" y="28"/>
                  <a:pt x="207" y="34"/>
                  <a:pt x="209" y="44"/>
                </a:cubicBezTo>
                <a:cubicBezTo>
                  <a:pt x="251" y="44"/>
                  <a:pt x="251" y="44"/>
                  <a:pt x="251" y="44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51" y="18"/>
                  <a:pt x="231" y="0"/>
                  <a:pt x="188" y="0"/>
                </a:cubicBezTo>
                <a:cubicBezTo>
                  <a:pt x="142" y="0"/>
                  <a:pt x="125" y="23"/>
                  <a:pt x="125" y="56"/>
                </a:cubicBezTo>
                <a:cubicBezTo>
                  <a:pt x="125" y="56"/>
                  <a:pt x="125" y="57"/>
                  <a:pt x="125" y="58"/>
                </a:cubicBezTo>
                <a:cubicBezTo>
                  <a:pt x="119" y="51"/>
                  <a:pt x="108" y="47"/>
                  <a:pt x="90" y="44"/>
                </a:cubicBezTo>
                <a:cubicBezTo>
                  <a:pt x="63" y="40"/>
                  <a:pt x="63" y="40"/>
                  <a:pt x="63" y="40"/>
                </a:cubicBezTo>
                <a:cubicBezTo>
                  <a:pt x="53" y="39"/>
                  <a:pt x="46" y="38"/>
                  <a:pt x="46" y="33"/>
                </a:cubicBezTo>
                <a:cubicBezTo>
                  <a:pt x="46" y="28"/>
                  <a:pt x="50" y="24"/>
                  <a:pt x="61" y="24"/>
                </a:cubicBezTo>
                <a:cubicBezTo>
                  <a:pt x="73" y="24"/>
                  <a:pt x="80" y="29"/>
                  <a:pt x="80" y="36"/>
                </a:cubicBezTo>
                <a:cubicBezTo>
                  <a:pt x="123" y="36"/>
                  <a:pt x="123" y="36"/>
                  <a:pt x="123" y="36"/>
                </a:cubicBezTo>
                <a:cubicBezTo>
                  <a:pt x="123" y="34"/>
                  <a:pt x="123" y="34"/>
                  <a:pt x="123" y="34"/>
                </a:cubicBezTo>
                <a:cubicBezTo>
                  <a:pt x="123" y="13"/>
                  <a:pt x="103" y="0"/>
                  <a:pt x="63" y="0"/>
                </a:cubicBezTo>
                <a:cubicBezTo>
                  <a:pt x="21" y="0"/>
                  <a:pt x="3" y="15"/>
                  <a:pt x="3" y="36"/>
                </a:cubicBezTo>
                <a:cubicBezTo>
                  <a:pt x="3" y="53"/>
                  <a:pt x="14" y="62"/>
                  <a:pt x="39" y="66"/>
                </a:cubicBezTo>
                <a:cubicBezTo>
                  <a:pt x="70" y="70"/>
                  <a:pt x="70" y="70"/>
                  <a:pt x="70" y="70"/>
                </a:cubicBezTo>
                <a:cubicBezTo>
                  <a:pt x="80" y="72"/>
                  <a:pt x="84" y="74"/>
                  <a:pt x="84" y="78"/>
                </a:cubicBezTo>
                <a:cubicBezTo>
                  <a:pt x="84" y="84"/>
                  <a:pt x="78" y="87"/>
                  <a:pt x="66" y="87"/>
                </a:cubicBezTo>
                <a:cubicBezTo>
                  <a:pt x="52" y="87"/>
                  <a:pt x="45" y="81"/>
                  <a:pt x="45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98"/>
                  <a:pt x="22" y="111"/>
                  <a:pt x="64" y="111"/>
                </a:cubicBezTo>
                <a:cubicBezTo>
                  <a:pt x="103" y="111"/>
                  <a:pt x="126" y="103"/>
                  <a:pt x="129" y="81"/>
                </a:cubicBezTo>
                <a:cubicBezTo>
                  <a:pt x="137" y="100"/>
                  <a:pt x="156" y="112"/>
                  <a:pt x="188" y="112"/>
                </a:cubicBezTo>
                <a:cubicBezTo>
                  <a:pt x="213" y="112"/>
                  <a:pt x="228" y="105"/>
                  <a:pt x="236" y="94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271" y="107"/>
                  <a:pt x="271" y="107"/>
                  <a:pt x="271" y="107"/>
                </a:cubicBezTo>
                <a:cubicBezTo>
                  <a:pt x="277" y="92"/>
                  <a:pt x="277" y="92"/>
                  <a:pt x="277" y="92"/>
                </a:cubicBezTo>
                <a:cubicBezTo>
                  <a:pt x="326" y="92"/>
                  <a:pt x="326" y="92"/>
                  <a:pt x="326" y="92"/>
                </a:cubicBezTo>
                <a:cubicBezTo>
                  <a:pt x="332" y="107"/>
                  <a:pt x="332" y="107"/>
                  <a:pt x="332" y="107"/>
                </a:cubicBezTo>
                <a:cubicBezTo>
                  <a:pt x="365" y="107"/>
                  <a:pt x="365" y="107"/>
                  <a:pt x="365" y="107"/>
                </a:cubicBezTo>
                <a:cubicBezTo>
                  <a:pt x="373" y="107"/>
                  <a:pt x="373" y="107"/>
                  <a:pt x="373" y="107"/>
                </a:cubicBezTo>
                <a:cubicBezTo>
                  <a:pt x="404" y="107"/>
                  <a:pt x="404" y="107"/>
                  <a:pt x="404" y="107"/>
                </a:cubicBezTo>
                <a:cubicBezTo>
                  <a:pt x="404" y="48"/>
                  <a:pt x="404" y="48"/>
                  <a:pt x="404" y="48"/>
                </a:cubicBezTo>
                <a:lnTo>
                  <a:pt x="448" y="107"/>
                </a:lnTo>
                <a:close/>
                <a:moveTo>
                  <a:pt x="619" y="65"/>
                </a:moveTo>
                <a:cubicBezTo>
                  <a:pt x="591" y="65"/>
                  <a:pt x="591" y="65"/>
                  <a:pt x="591" y="65"/>
                </a:cubicBezTo>
                <a:cubicBezTo>
                  <a:pt x="605" y="28"/>
                  <a:pt x="605" y="28"/>
                  <a:pt x="605" y="28"/>
                </a:cubicBezTo>
                <a:lnTo>
                  <a:pt x="619" y="65"/>
                </a:lnTo>
                <a:close/>
                <a:moveTo>
                  <a:pt x="676" y="107"/>
                </a:moveTo>
                <a:cubicBezTo>
                  <a:pt x="637" y="4"/>
                  <a:pt x="637" y="4"/>
                  <a:pt x="637" y="4"/>
                </a:cubicBezTo>
                <a:cubicBezTo>
                  <a:pt x="574" y="4"/>
                  <a:pt x="574" y="4"/>
                  <a:pt x="574" y="4"/>
                </a:cubicBezTo>
                <a:cubicBezTo>
                  <a:pt x="542" y="88"/>
                  <a:pt x="542" y="88"/>
                  <a:pt x="542" y="88"/>
                </a:cubicBezTo>
                <a:cubicBezTo>
                  <a:pt x="542" y="4"/>
                  <a:pt x="542" y="4"/>
                  <a:pt x="542" y="4"/>
                </a:cubicBezTo>
                <a:cubicBezTo>
                  <a:pt x="503" y="4"/>
                  <a:pt x="503" y="4"/>
                  <a:pt x="503" y="4"/>
                </a:cubicBezTo>
                <a:cubicBezTo>
                  <a:pt x="503" y="107"/>
                  <a:pt x="503" y="107"/>
                  <a:pt x="503" y="107"/>
                </a:cubicBezTo>
                <a:cubicBezTo>
                  <a:pt x="535" y="107"/>
                  <a:pt x="535" y="107"/>
                  <a:pt x="535" y="107"/>
                </a:cubicBezTo>
                <a:cubicBezTo>
                  <a:pt x="542" y="107"/>
                  <a:pt x="542" y="107"/>
                  <a:pt x="542" y="107"/>
                </a:cubicBezTo>
                <a:cubicBezTo>
                  <a:pt x="575" y="107"/>
                  <a:pt x="575" y="107"/>
                  <a:pt x="575" y="107"/>
                </a:cubicBezTo>
                <a:cubicBezTo>
                  <a:pt x="580" y="92"/>
                  <a:pt x="580" y="92"/>
                  <a:pt x="580" y="92"/>
                </a:cubicBezTo>
                <a:cubicBezTo>
                  <a:pt x="630" y="92"/>
                  <a:pt x="630" y="92"/>
                  <a:pt x="630" y="92"/>
                </a:cubicBezTo>
                <a:cubicBezTo>
                  <a:pt x="635" y="107"/>
                  <a:pt x="635" y="107"/>
                  <a:pt x="635" y="107"/>
                </a:cubicBezTo>
                <a:lnTo>
                  <a:pt x="676" y="107"/>
                </a:lnTo>
                <a:close/>
              </a:path>
            </a:pathLst>
          </a:custGeom>
          <a:solidFill>
            <a:srgbClr val="FAFA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453584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Last Page - Grey">
    <p:bg>
      <p:bgPr>
        <a:solidFill>
          <a:srgbClr val="535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515938" y="4743880"/>
            <a:ext cx="4175124" cy="586096"/>
          </a:xfr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200" b="0" baseline="0">
                <a:solidFill>
                  <a:schemeClr val="bg1"/>
                </a:solidFill>
                <a:latin typeface="Scania Office Bold" panose="00000800000000000000" pitchFamily="2" charset="0"/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Click to add your name</a:t>
            </a:r>
          </a:p>
        </p:txBody>
      </p:sp>
      <p:sp>
        <p:nvSpPr>
          <p:cNvPr id="10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515938" y="5344932"/>
            <a:ext cx="4175124" cy="1049676"/>
          </a:xfrm>
        </p:spPr>
        <p:txBody>
          <a:bodyPr anchor="t">
            <a:noAutofit/>
          </a:bodyPr>
          <a:lstStyle>
            <a:lvl1pPr marL="0" indent="0">
              <a:spcBef>
                <a:spcPts val="0"/>
              </a:spcBef>
              <a:buNone/>
              <a:defRPr sz="1000" baseline="0">
                <a:solidFill>
                  <a:schemeClr val="bg1"/>
                </a:solidFill>
              </a:defRPr>
            </a:lvl1pPr>
            <a:lvl2pPr marL="268287" indent="0">
              <a:buNone/>
              <a:defRPr sz="1400"/>
            </a:lvl2pPr>
            <a:lvl3pPr marL="536575" indent="0">
              <a:buNone/>
              <a:defRPr sz="1400"/>
            </a:lvl3pPr>
            <a:lvl4pPr marL="893763" indent="0">
              <a:buNone/>
              <a:defRPr sz="1400"/>
            </a:lvl4pPr>
            <a:lvl5pPr marL="1258887" indent="0">
              <a:buNone/>
              <a:defRPr sz="1400"/>
            </a:lvl5pPr>
          </a:lstStyle>
          <a:p>
            <a:pPr lvl="0"/>
            <a:r>
              <a:rPr lang="en-US" dirty="0"/>
              <a:t>Click to add Company name, Title, Department, Phone number,</a:t>
            </a:r>
            <a:br>
              <a:rPr lang="en-US" dirty="0"/>
            </a:br>
            <a:r>
              <a:rPr lang="en-US" dirty="0"/>
              <a:t>E-mail address, Web address</a:t>
            </a:r>
          </a:p>
        </p:txBody>
      </p:sp>
      <p:sp>
        <p:nvSpPr>
          <p:cNvPr id="6" name="ScaniaWordmark"/>
          <p:cNvSpPr>
            <a:spLocks noEditPoints="1"/>
          </p:cNvSpPr>
          <p:nvPr/>
        </p:nvSpPr>
        <p:spPr bwMode="auto">
          <a:xfrm>
            <a:off x="9852144" y="6215608"/>
            <a:ext cx="2026167" cy="343475"/>
          </a:xfrm>
          <a:custGeom>
            <a:avLst/>
            <a:gdLst>
              <a:gd name="T0" fmla="*/ 287 w 676"/>
              <a:gd name="T1" fmla="*/ 65 h 112"/>
              <a:gd name="T2" fmla="*/ 316 w 676"/>
              <a:gd name="T3" fmla="*/ 65 h 112"/>
              <a:gd name="T4" fmla="*/ 493 w 676"/>
              <a:gd name="T5" fmla="*/ 107 h 112"/>
              <a:gd name="T6" fmla="*/ 455 w 676"/>
              <a:gd name="T7" fmla="*/ 4 h 112"/>
              <a:gd name="T8" fmla="*/ 414 w 676"/>
              <a:gd name="T9" fmla="*/ 4 h 112"/>
              <a:gd name="T10" fmla="*/ 365 w 676"/>
              <a:gd name="T11" fmla="*/ 88 h 112"/>
              <a:gd name="T12" fmla="*/ 271 w 676"/>
              <a:gd name="T13" fmla="*/ 4 h 112"/>
              <a:gd name="T14" fmla="*/ 209 w 676"/>
              <a:gd name="T15" fmla="*/ 65 h 112"/>
              <a:gd name="T16" fmla="*/ 166 w 676"/>
              <a:gd name="T17" fmla="*/ 56 h 112"/>
              <a:gd name="T18" fmla="*/ 209 w 676"/>
              <a:gd name="T19" fmla="*/ 44 h 112"/>
              <a:gd name="T20" fmla="*/ 251 w 676"/>
              <a:gd name="T21" fmla="*/ 41 h 112"/>
              <a:gd name="T22" fmla="*/ 125 w 676"/>
              <a:gd name="T23" fmla="*/ 56 h 112"/>
              <a:gd name="T24" fmla="*/ 90 w 676"/>
              <a:gd name="T25" fmla="*/ 44 h 112"/>
              <a:gd name="T26" fmla="*/ 46 w 676"/>
              <a:gd name="T27" fmla="*/ 33 h 112"/>
              <a:gd name="T28" fmla="*/ 80 w 676"/>
              <a:gd name="T29" fmla="*/ 36 h 112"/>
              <a:gd name="T30" fmla="*/ 123 w 676"/>
              <a:gd name="T31" fmla="*/ 34 h 112"/>
              <a:gd name="T32" fmla="*/ 3 w 676"/>
              <a:gd name="T33" fmla="*/ 36 h 112"/>
              <a:gd name="T34" fmla="*/ 70 w 676"/>
              <a:gd name="T35" fmla="*/ 70 h 112"/>
              <a:gd name="T36" fmla="*/ 66 w 676"/>
              <a:gd name="T37" fmla="*/ 87 h 112"/>
              <a:gd name="T38" fmla="*/ 0 w 676"/>
              <a:gd name="T39" fmla="*/ 73 h 112"/>
              <a:gd name="T40" fmla="*/ 64 w 676"/>
              <a:gd name="T41" fmla="*/ 111 h 112"/>
              <a:gd name="T42" fmla="*/ 188 w 676"/>
              <a:gd name="T43" fmla="*/ 112 h 112"/>
              <a:gd name="T44" fmla="*/ 231 w 676"/>
              <a:gd name="T45" fmla="*/ 107 h 112"/>
              <a:gd name="T46" fmla="*/ 277 w 676"/>
              <a:gd name="T47" fmla="*/ 92 h 112"/>
              <a:gd name="T48" fmla="*/ 332 w 676"/>
              <a:gd name="T49" fmla="*/ 107 h 112"/>
              <a:gd name="T50" fmla="*/ 373 w 676"/>
              <a:gd name="T51" fmla="*/ 107 h 112"/>
              <a:gd name="T52" fmla="*/ 404 w 676"/>
              <a:gd name="T53" fmla="*/ 48 h 112"/>
              <a:gd name="T54" fmla="*/ 619 w 676"/>
              <a:gd name="T55" fmla="*/ 65 h 112"/>
              <a:gd name="T56" fmla="*/ 605 w 676"/>
              <a:gd name="T57" fmla="*/ 28 h 112"/>
              <a:gd name="T58" fmla="*/ 676 w 676"/>
              <a:gd name="T59" fmla="*/ 107 h 112"/>
              <a:gd name="T60" fmla="*/ 574 w 676"/>
              <a:gd name="T61" fmla="*/ 4 h 112"/>
              <a:gd name="T62" fmla="*/ 542 w 676"/>
              <a:gd name="T63" fmla="*/ 4 h 112"/>
              <a:gd name="T64" fmla="*/ 503 w 676"/>
              <a:gd name="T65" fmla="*/ 107 h 112"/>
              <a:gd name="T66" fmla="*/ 542 w 676"/>
              <a:gd name="T67" fmla="*/ 107 h 112"/>
              <a:gd name="T68" fmla="*/ 580 w 676"/>
              <a:gd name="T69" fmla="*/ 92 h 112"/>
              <a:gd name="T70" fmla="*/ 635 w 676"/>
              <a:gd name="T71" fmla="*/ 10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6" h="112">
                <a:moveTo>
                  <a:pt x="316" y="65"/>
                </a:moveTo>
                <a:cubicBezTo>
                  <a:pt x="287" y="65"/>
                  <a:pt x="287" y="65"/>
                  <a:pt x="287" y="65"/>
                </a:cubicBezTo>
                <a:cubicBezTo>
                  <a:pt x="302" y="28"/>
                  <a:pt x="302" y="28"/>
                  <a:pt x="302" y="28"/>
                </a:cubicBezTo>
                <a:lnTo>
                  <a:pt x="316" y="65"/>
                </a:lnTo>
                <a:close/>
                <a:moveTo>
                  <a:pt x="448" y="107"/>
                </a:moveTo>
                <a:cubicBezTo>
                  <a:pt x="493" y="107"/>
                  <a:pt x="493" y="107"/>
                  <a:pt x="493" y="107"/>
                </a:cubicBezTo>
                <a:cubicBezTo>
                  <a:pt x="493" y="4"/>
                  <a:pt x="493" y="4"/>
                  <a:pt x="493" y="4"/>
                </a:cubicBezTo>
                <a:cubicBezTo>
                  <a:pt x="455" y="4"/>
                  <a:pt x="455" y="4"/>
                  <a:pt x="455" y="4"/>
                </a:cubicBezTo>
                <a:cubicBezTo>
                  <a:pt x="455" y="58"/>
                  <a:pt x="455" y="58"/>
                  <a:pt x="455" y="58"/>
                </a:cubicBezTo>
                <a:cubicBezTo>
                  <a:pt x="414" y="4"/>
                  <a:pt x="414" y="4"/>
                  <a:pt x="414" y="4"/>
                </a:cubicBezTo>
                <a:cubicBezTo>
                  <a:pt x="365" y="4"/>
                  <a:pt x="365" y="4"/>
                  <a:pt x="365" y="4"/>
                </a:cubicBezTo>
                <a:cubicBezTo>
                  <a:pt x="365" y="88"/>
                  <a:pt x="365" y="88"/>
                  <a:pt x="365" y="88"/>
                </a:cubicBezTo>
                <a:cubicBezTo>
                  <a:pt x="333" y="4"/>
                  <a:pt x="333" y="4"/>
                  <a:pt x="333" y="4"/>
                </a:cubicBezTo>
                <a:cubicBezTo>
                  <a:pt x="271" y="4"/>
                  <a:pt x="271" y="4"/>
                  <a:pt x="271" y="4"/>
                </a:cubicBezTo>
                <a:cubicBezTo>
                  <a:pt x="247" y="65"/>
                  <a:pt x="247" y="65"/>
                  <a:pt x="247" y="65"/>
                </a:cubicBezTo>
                <a:cubicBezTo>
                  <a:pt x="209" y="65"/>
                  <a:pt x="209" y="65"/>
                  <a:pt x="209" y="65"/>
                </a:cubicBezTo>
                <a:cubicBezTo>
                  <a:pt x="207" y="77"/>
                  <a:pt x="200" y="83"/>
                  <a:pt x="188" y="83"/>
                </a:cubicBezTo>
                <a:cubicBezTo>
                  <a:pt x="174" y="83"/>
                  <a:pt x="166" y="73"/>
                  <a:pt x="166" y="56"/>
                </a:cubicBezTo>
                <a:cubicBezTo>
                  <a:pt x="166" y="39"/>
                  <a:pt x="174" y="28"/>
                  <a:pt x="188" y="28"/>
                </a:cubicBezTo>
                <a:cubicBezTo>
                  <a:pt x="200" y="28"/>
                  <a:pt x="207" y="34"/>
                  <a:pt x="209" y="44"/>
                </a:cubicBezTo>
                <a:cubicBezTo>
                  <a:pt x="251" y="44"/>
                  <a:pt x="251" y="44"/>
                  <a:pt x="251" y="44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51" y="18"/>
                  <a:pt x="231" y="0"/>
                  <a:pt x="188" y="0"/>
                </a:cubicBezTo>
                <a:cubicBezTo>
                  <a:pt x="142" y="0"/>
                  <a:pt x="125" y="23"/>
                  <a:pt x="125" y="56"/>
                </a:cubicBezTo>
                <a:cubicBezTo>
                  <a:pt x="125" y="56"/>
                  <a:pt x="125" y="57"/>
                  <a:pt x="125" y="58"/>
                </a:cubicBezTo>
                <a:cubicBezTo>
                  <a:pt x="119" y="51"/>
                  <a:pt x="108" y="47"/>
                  <a:pt x="90" y="44"/>
                </a:cubicBezTo>
                <a:cubicBezTo>
                  <a:pt x="63" y="40"/>
                  <a:pt x="63" y="40"/>
                  <a:pt x="63" y="40"/>
                </a:cubicBezTo>
                <a:cubicBezTo>
                  <a:pt x="53" y="39"/>
                  <a:pt x="46" y="38"/>
                  <a:pt x="46" y="33"/>
                </a:cubicBezTo>
                <a:cubicBezTo>
                  <a:pt x="46" y="28"/>
                  <a:pt x="50" y="24"/>
                  <a:pt x="61" y="24"/>
                </a:cubicBezTo>
                <a:cubicBezTo>
                  <a:pt x="73" y="24"/>
                  <a:pt x="80" y="29"/>
                  <a:pt x="80" y="36"/>
                </a:cubicBezTo>
                <a:cubicBezTo>
                  <a:pt x="123" y="36"/>
                  <a:pt x="123" y="36"/>
                  <a:pt x="123" y="36"/>
                </a:cubicBezTo>
                <a:cubicBezTo>
                  <a:pt x="123" y="34"/>
                  <a:pt x="123" y="34"/>
                  <a:pt x="123" y="34"/>
                </a:cubicBezTo>
                <a:cubicBezTo>
                  <a:pt x="123" y="13"/>
                  <a:pt x="103" y="0"/>
                  <a:pt x="63" y="0"/>
                </a:cubicBezTo>
                <a:cubicBezTo>
                  <a:pt x="21" y="0"/>
                  <a:pt x="3" y="15"/>
                  <a:pt x="3" y="36"/>
                </a:cubicBezTo>
                <a:cubicBezTo>
                  <a:pt x="3" y="53"/>
                  <a:pt x="14" y="62"/>
                  <a:pt x="39" y="66"/>
                </a:cubicBezTo>
                <a:cubicBezTo>
                  <a:pt x="70" y="70"/>
                  <a:pt x="70" y="70"/>
                  <a:pt x="70" y="70"/>
                </a:cubicBezTo>
                <a:cubicBezTo>
                  <a:pt x="80" y="72"/>
                  <a:pt x="84" y="74"/>
                  <a:pt x="84" y="78"/>
                </a:cubicBezTo>
                <a:cubicBezTo>
                  <a:pt x="84" y="84"/>
                  <a:pt x="78" y="87"/>
                  <a:pt x="66" y="87"/>
                </a:cubicBezTo>
                <a:cubicBezTo>
                  <a:pt x="52" y="87"/>
                  <a:pt x="45" y="81"/>
                  <a:pt x="45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98"/>
                  <a:pt x="22" y="111"/>
                  <a:pt x="64" y="111"/>
                </a:cubicBezTo>
                <a:cubicBezTo>
                  <a:pt x="103" y="111"/>
                  <a:pt x="126" y="103"/>
                  <a:pt x="129" y="81"/>
                </a:cubicBezTo>
                <a:cubicBezTo>
                  <a:pt x="137" y="100"/>
                  <a:pt x="156" y="112"/>
                  <a:pt x="188" y="112"/>
                </a:cubicBezTo>
                <a:cubicBezTo>
                  <a:pt x="213" y="112"/>
                  <a:pt x="228" y="105"/>
                  <a:pt x="236" y="94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271" y="107"/>
                  <a:pt x="271" y="107"/>
                  <a:pt x="271" y="107"/>
                </a:cubicBezTo>
                <a:cubicBezTo>
                  <a:pt x="277" y="92"/>
                  <a:pt x="277" y="92"/>
                  <a:pt x="277" y="92"/>
                </a:cubicBezTo>
                <a:cubicBezTo>
                  <a:pt x="326" y="92"/>
                  <a:pt x="326" y="92"/>
                  <a:pt x="326" y="92"/>
                </a:cubicBezTo>
                <a:cubicBezTo>
                  <a:pt x="332" y="107"/>
                  <a:pt x="332" y="107"/>
                  <a:pt x="332" y="107"/>
                </a:cubicBezTo>
                <a:cubicBezTo>
                  <a:pt x="365" y="107"/>
                  <a:pt x="365" y="107"/>
                  <a:pt x="365" y="107"/>
                </a:cubicBezTo>
                <a:cubicBezTo>
                  <a:pt x="373" y="107"/>
                  <a:pt x="373" y="107"/>
                  <a:pt x="373" y="107"/>
                </a:cubicBezTo>
                <a:cubicBezTo>
                  <a:pt x="404" y="107"/>
                  <a:pt x="404" y="107"/>
                  <a:pt x="404" y="107"/>
                </a:cubicBezTo>
                <a:cubicBezTo>
                  <a:pt x="404" y="48"/>
                  <a:pt x="404" y="48"/>
                  <a:pt x="404" y="48"/>
                </a:cubicBezTo>
                <a:lnTo>
                  <a:pt x="448" y="107"/>
                </a:lnTo>
                <a:close/>
                <a:moveTo>
                  <a:pt x="619" y="65"/>
                </a:moveTo>
                <a:cubicBezTo>
                  <a:pt x="591" y="65"/>
                  <a:pt x="591" y="65"/>
                  <a:pt x="591" y="65"/>
                </a:cubicBezTo>
                <a:cubicBezTo>
                  <a:pt x="605" y="28"/>
                  <a:pt x="605" y="28"/>
                  <a:pt x="605" y="28"/>
                </a:cubicBezTo>
                <a:lnTo>
                  <a:pt x="619" y="65"/>
                </a:lnTo>
                <a:close/>
                <a:moveTo>
                  <a:pt x="676" y="107"/>
                </a:moveTo>
                <a:cubicBezTo>
                  <a:pt x="637" y="4"/>
                  <a:pt x="637" y="4"/>
                  <a:pt x="637" y="4"/>
                </a:cubicBezTo>
                <a:cubicBezTo>
                  <a:pt x="574" y="4"/>
                  <a:pt x="574" y="4"/>
                  <a:pt x="574" y="4"/>
                </a:cubicBezTo>
                <a:cubicBezTo>
                  <a:pt x="542" y="88"/>
                  <a:pt x="542" y="88"/>
                  <a:pt x="542" y="88"/>
                </a:cubicBezTo>
                <a:cubicBezTo>
                  <a:pt x="542" y="4"/>
                  <a:pt x="542" y="4"/>
                  <a:pt x="542" y="4"/>
                </a:cubicBezTo>
                <a:cubicBezTo>
                  <a:pt x="503" y="4"/>
                  <a:pt x="503" y="4"/>
                  <a:pt x="503" y="4"/>
                </a:cubicBezTo>
                <a:cubicBezTo>
                  <a:pt x="503" y="107"/>
                  <a:pt x="503" y="107"/>
                  <a:pt x="503" y="107"/>
                </a:cubicBezTo>
                <a:cubicBezTo>
                  <a:pt x="535" y="107"/>
                  <a:pt x="535" y="107"/>
                  <a:pt x="535" y="107"/>
                </a:cubicBezTo>
                <a:cubicBezTo>
                  <a:pt x="542" y="107"/>
                  <a:pt x="542" y="107"/>
                  <a:pt x="542" y="107"/>
                </a:cubicBezTo>
                <a:cubicBezTo>
                  <a:pt x="575" y="107"/>
                  <a:pt x="575" y="107"/>
                  <a:pt x="575" y="107"/>
                </a:cubicBezTo>
                <a:cubicBezTo>
                  <a:pt x="580" y="92"/>
                  <a:pt x="580" y="92"/>
                  <a:pt x="580" y="92"/>
                </a:cubicBezTo>
                <a:cubicBezTo>
                  <a:pt x="630" y="92"/>
                  <a:pt x="630" y="92"/>
                  <a:pt x="630" y="92"/>
                </a:cubicBezTo>
                <a:cubicBezTo>
                  <a:pt x="635" y="107"/>
                  <a:pt x="635" y="107"/>
                  <a:pt x="635" y="107"/>
                </a:cubicBezTo>
                <a:lnTo>
                  <a:pt x="676" y="107"/>
                </a:lnTo>
                <a:close/>
              </a:path>
            </a:pathLst>
          </a:custGeom>
          <a:solidFill>
            <a:srgbClr val="FAFA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TextBox 6"/>
          <p:cNvSpPr txBox="1"/>
          <p:nvPr/>
        </p:nvSpPr>
        <p:spPr>
          <a:xfrm>
            <a:off x="0" y="-135898"/>
            <a:ext cx="839974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Last Page - Grey</a:t>
            </a:r>
          </a:p>
        </p:txBody>
      </p:sp>
      <p:pic>
        <p:nvPicPr>
          <p:cNvPr id="8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  <p:sp>
        <p:nvSpPr>
          <p:cNvPr id="11" name="ScaniaWordmark">
            <a:extLst>
              <a:ext uri="{FF2B5EF4-FFF2-40B4-BE49-F238E27FC236}">
                <a16:creationId xmlns:a16="http://schemas.microsoft.com/office/drawing/2014/main" id="{F1E2144C-1274-4A95-B4DD-7C3C4A293706}"/>
              </a:ext>
            </a:extLst>
          </p:cNvPr>
          <p:cNvSpPr>
            <a:spLocks noEditPoints="1"/>
          </p:cNvSpPr>
          <p:nvPr userDrawn="1"/>
        </p:nvSpPr>
        <p:spPr bwMode="auto">
          <a:xfrm>
            <a:off x="9852144" y="6215608"/>
            <a:ext cx="2026167" cy="343475"/>
          </a:xfrm>
          <a:custGeom>
            <a:avLst/>
            <a:gdLst>
              <a:gd name="T0" fmla="*/ 287 w 676"/>
              <a:gd name="T1" fmla="*/ 65 h 112"/>
              <a:gd name="T2" fmla="*/ 316 w 676"/>
              <a:gd name="T3" fmla="*/ 65 h 112"/>
              <a:gd name="T4" fmla="*/ 493 w 676"/>
              <a:gd name="T5" fmla="*/ 107 h 112"/>
              <a:gd name="T6" fmla="*/ 455 w 676"/>
              <a:gd name="T7" fmla="*/ 4 h 112"/>
              <a:gd name="T8" fmla="*/ 414 w 676"/>
              <a:gd name="T9" fmla="*/ 4 h 112"/>
              <a:gd name="T10" fmla="*/ 365 w 676"/>
              <a:gd name="T11" fmla="*/ 88 h 112"/>
              <a:gd name="T12" fmla="*/ 271 w 676"/>
              <a:gd name="T13" fmla="*/ 4 h 112"/>
              <a:gd name="T14" fmla="*/ 209 w 676"/>
              <a:gd name="T15" fmla="*/ 65 h 112"/>
              <a:gd name="T16" fmla="*/ 166 w 676"/>
              <a:gd name="T17" fmla="*/ 56 h 112"/>
              <a:gd name="T18" fmla="*/ 209 w 676"/>
              <a:gd name="T19" fmla="*/ 44 h 112"/>
              <a:gd name="T20" fmla="*/ 251 w 676"/>
              <a:gd name="T21" fmla="*/ 41 h 112"/>
              <a:gd name="T22" fmla="*/ 125 w 676"/>
              <a:gd name="T23" fmla="*/ 56 h 112"/>
              <a:gd name="T24" fmla="*/ 90 w 676"/>
              <a:gd name="T25" fmla="*/ 44 h 112"/>
              <a:gd name="T26" fmla="*/ 46 w 676"/>
              <a:gd name="T27" fmla="*/ 33 h 112"/>
              <a:gd name="T28" fmla="*/ 80 w 676"/>
              <a:gd name="T29" fmla="*/ 36 h 112"/>
              <a:gd name="T30" fmla="*/ 123 w 676"/>
              <a:gd name="T31" fmla="*/ 34 h 112"/>
              <a:gd name="T32" fmla="*/ 3 w 676"/>
              <a:gd name="T33" fmla="*/ 36 h 112"/>
              <a:gd name="T34" fmla="*/ 70 w 676"/>
              <a:gd name="T35" fmla="*/ 70 h 112"/>
              <a:gd name="T36" fmla="*/ 66 w 676"/>
              <a:gd name="T37" fmla="*/ 87 h 112"/>
              <a:gd name="T38" fmla="*/ 0 w 676"/>
              <a:gd name="T39" fmla="*/ 73 h 112"/>
              <a:gd name="T40" fmla="*/ 64 w 676"/>
              <a:gd name="T41" fmla="*/ 111 h 112"/>
              <a:gd name="T42" fmla="*/ 188 w 676"/>
              <a:gd name="T43" fmla="*/ 112 h 112"/>
              <a:gd name="T44" fmla="*/ 231 w 676"/>
              <a:gd name="T45" fmla="*/ 107 h 112"/>
              <a:gd name="T46" fmla="*/ 277 w 676"/>
              <a:gd name="T47" fmla="*/ 92 h 112"/>
              <a:gd name="T48" fmla="*/ 332 w 676"/>
              <a:gd name="T49" fmla="*/ 107 h 112"/>
              <a:gd name="T50" fmla="*/ 373 w 676"/>
              <a:gd name="T51" fmla="*/ 107 h 112"/>
              <a:gd name="T52" fmla="*/ 404 w 676"/>
              <a:gd name="T53" fmla="*/ 48 h 112"/>
              <a:gd name="T54" fmla="*/ 619 w 676"/>
              <a:gd name="T55" fmla="*/ 65 h 112"/>
              <a:gd name="T56" fmla="*/ 605 w 676"/>
              <a:gd name="T57" fmla="*/ 28 h 112"/>
              <a:gd name="T58" fmla="*/ 676 w 676"/>
              <a:gd name="T59" fmla="*/ 107 h 112"/>
              <a:gd name="T60" fmla="*/ 574 w 676"/>
              <a:gd name="T61" fmla="*/ 4 h 112"/>
              <a:gd name="T62" fmla="*/ 542 w 676"/>
              <a:gd name="T63" fmla="*/ 4 h 112"/>
              <a:gd name="T64" fmla="*/ 503 w 676"/>
              <a:gd name="T65" fmla="*/ 107 h 112"/>
              <a:gd name="T66" fmla="*/ 542 w 676"/>
              <a:gd name="T67" fmla="*/ 107 h 112"/>
              <a:gd name="T68" fmla="*/ 580 w 676"/>
              <a:gd name="T69" fmla="*/ 92 h 112"/>
              <a:gd name="T70" fmla="*/ 635 w 676"/>
              <a:gd name="T71" fmla="*/ 10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6" h="112">
                <a:moveTo>
                  <a:pt x="316" y="65"/>
                </a:moveTo>
                <a:cubicBezTo>
                  <a:pt x="287" y="65"/>
                  <a:pt x="287" y="65"/>
                  <a:pt x="287" y="65"/>
                </a:cubicBezTo>
                <a:cubicBezTo>
                  <a:pt x="302" y="28"/>
                  <a:pt x="302" y="28"/>
                  <a:pt x="302" y="28"/>
                </a:cubicBezTo>
                <a:lnTo>
                  <a:pt x="316" y="65"/>
                </a:lnTo>
                <a:close/>
                <a:moveTo>
                  <a:pt x="448" y="107"/>
                </a:moveTo>
                <a:cubicBezTo>
                  <a:pt x="493" y="107"/>
                  <a:pt x="493" y="107"/>
                  <a:pt x="493" y="107"/>
                </a:cubicBezTo>
                <a:cubicBezTo>
                  <a:pt x="493" y="4"/>
                  <a:pt x="493" y="4"/>
                  <a:pt x="493" y="4"/>
                </a:cubicBezTo>
                <a:cubicBezTo>
                  <a:pt x="455" y="4"/>
                  <a:pt x="455" y="4"/>
                  <a:pt x="455" y="4"/>
                </a:cubicBezTo>
                <a:cubicBezTo>
                  <a:pt x="455" y="58"/>
                  <a:pt x="455" y="58"/>
                  <a:pt x="455" y="58"/>
                </a:cubicBezTo>
                <a:cubicBezTo>
                  <a:pt x="414" y="4"/>
                  <a:pt x="414" y="4"/>
                  <a:pt x="414" y="4"/>
                </a:cubicBezTo>
                <a:cubicBezTo>
                  <a:pt x="365" y="4"/>
                  <a:pt x="365" y="4"/>
                  <a:pt x="365" y="4"/>
                </a:cubicBezTo>
                <a:cubicBezTo>
                  <a:pt x="365" y="88"/>
                  <a:pt x="365" y="88"/>
                  <a:pt x="365" y="88"/>
                </a:cubicBezTo>
                <a:cubicBezTo>
                  <a:pt x="333" y="4"/>
                  <a:pt x="333" y="4"/>
                  <a:pt x="333" y="4"/>
                </a:cubicBezTo>
                <a:cubicBezTo>
                  <a:pt x="271" y="4"/>
                  <a:pt x="271" y="4"/>
                  <a:pt x="271" y="4"/>
                </a:cubicBezTo>
                <a:cubicBezTo>
                  <a:pt x="247" y="65"/>
                  <a:pt x="247" y="65"/>
                  <a:pt x="247" y="65"/>
                </a:cubicBezTo>
                <a:cubicBezTo>
                  <a:pt x="209" y="65"/>
                  <a:pt x="209" y="65"/>
                  <a:pt x="209" y="65"/>
                </a:cubicBezTo>
                <a:cubicBezTo>
                  <a:pt x="207" y="77"/>
                  <a:pt x="200" y="83"/>
                  <a:pt x="188" y="83"/>
                </a:cubicBezTo>
                <a:cubicBezTo>
                  <a:pt x="174" y="83"/>
                  <a:pt x="166" y="73"/>
                  <a:pt x="166" y="56"/>
                </a:cubicBezTo>
                <a:cubicBezTo>
                  <a:pt x="166" y="39"/>
                  <a:pt x="174" y="28"/>
                  <a:pt x="188" y="28"/>
                </a:cubicBezTo>
                <a:cubicBezTo>
                  <a:pt x="200" y="28"/>
                  <a:pt x="207" y="34"/>
                  <a:pt x="209" y="44"/>
                </a:cubicBezTo>
                <a:cubicBezTo>
                  <a:pt x="251" y="44"/>
                  <a:pt x="251" y="44"/>
                  <a:pt x="251" y="44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51" y="18"/>
                  <a:pt x="231" y="0"/>
                  <a:pt x="188" y="0"/>
                </a:cubicBezTo>
                <a:cubicBezTo>
                  <a:pt x="142" y="0"/>
                  <a:pt x="125" y="23"/>
                  <a:pt x="125" y="56"/>
                </a:cubicBezTo>
                <a:cubicBezTo>
                  <a:pt x="125" y="56"/>
                  <a:pt x="125" y="57"/>
                  <a:pt x="125" y="58"/>
                </a:cubicBezTo>
                <a:cubicBezTo>
                  <a:pt x="119" y="51"/>
                  <a:pt x="108" y="47"/>
                  <a:pt x="90" y="44"/>
                </a:cubicBezTo>
                <a:cubicBezTo>
                  <a:pt x="63" y="40"/>
                  <a:pt x="63" y="40"/>
                  <a:pt x="63" y="40"/>
                </a:cubicBezTo>
                <a:cubicBezTo>
                  <a:pt x="53" y="39"/>
                  <a:pt x="46" y="38"/>
                  <a:pt x="46" y="33"/>
                </a:cubicBezTo>
                <a:cubicBezTo>
                  <a:pt x="46" y="28"/>
                  <a:pt x="50" y="24"/>
                  <a:pt x="61" y="24"/>
                </a:cubicBezTo>
                <a:cubicBezTo>
                  <a:pt x="73" y="24"/>
                  <a:pt x="80" y="29"/>
                  <a:pt x="80" y="36"/>
                </a:cubicBezTo>
                <a:cubicBezTo>
                  <a:pt x="123" y="36"/>
                  <a:pt x="123" y="36"/>
                  <a:pt x="123" y="36"/>
                </a:cubicBezTo>
                <a:cubicBezTo>
                  <a:pt x="123" y="34"/>
                  <a:pt x="123" y="34"/>
                  <a:pt x="123" y="34"/>
                </a:cubicBezTo>
                <a:cubicBezTo>
                  <a:pt x="123" y="13"/>
                  <a:pt x="103" y="0"/>
                  <a:pt x="63" y="0"/>
                </a:cubicBezTo>
                <a:cubicBezTo>
                  <a:pt x="21" y="0"/>
                  <a:pt x="3" y="15"/>
                  <a:pt x="3" y="36"/>
                </a:cubicBezTo>
                <a:cubicBezTo>
                  <a:pt x="3" y="53"/>
                  <a:pt x="14" y="62"/>
                  <a:pt x="39" y="66"/>
                </a:cubicBezTo>
                <a:cubicBezTo>
                  <a:pt x="70" y="70"/>
                  <a:pt x="70" y="70"/>
                  <a:pt x="70" y="70"/>
                </a:cubicBezTo>
                <a:cubicBezTo>
                  <a:pt x="80" y="72"/>
                  <a:pt x="84" y="74"/>
                  <a:pt x="84" y="78"/>
                </a:cubicBezTo>
                <a:cubicBezTo>
                  <a:pt x="84" y="84"/>
                  <a:pt x="78" y="87"/>
                  <a:pt x="66" y="87"/>
                </a:cubicBezTo>
                <a:cubicBezTo>
                  <a:pt x="52" y="87"/>
                  <a:pt x="45" y="81"/>
                  <a:pt x="45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98"/>
                  <a:pt x="22" y="111"/>
                  <a:pt x="64" y="111"/>
                </a:cubicBezTo>
                <a:cubicBezTo>
                  <a:pt x="103" y="111"/>
                  <a:pt x="126" y="103"/>
                  <a:pt x="129" y="81"/>
                </a:cubicBezTo>
                <a:cubicBezTo>
                  <a:pt x="137" y="100"/>
                  <a:pt x="156" y="112"/>
                  <a:pt x="188" y="112"/>
                </a:cubicBezTo>
                <a:cubicBezTo>
                  <a:pt x="213" y="112"/>
                  <a:pt x="228" y="105"/>
                  <a:pt x="236" y="94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271" y="107"/>
                  <a:pt x="271" y="107"/>
                  <a:pt x="271" y="107"/>
                </a:cubicBezTo>
                <a:cubicBezTo>
                  <a:pt x="277" y="92"/>
                  <a:pt x="277" y="92"/>
                  <a:pt x="277" y="92"/>
                </a:cubicBezTo>
                <a:cubicBezTo>
                  <a:pt x="326" y="92"/>
                  <a:pt x="326" y="92"/>
                  <a:pt x="326" y="92"/>
                </a:cubicBezTo>
                <a:cubicBezTo>
                  <a:pt x="332" y="107"/>
                  <a:pt x="332" y="107"/>
                  <a:pt x="332" y="107"/>
                </a:cubicBezTo>
                <a:cubicBezTo>
                  <a:pt x="365" y="107"/>
                  <a:pt x="365" y="107"/>
                  <a:pt x="365" y="107"/>
                </a:cubicBezTo>
                <a:cubicBezTo>
                  <a:pt x="373" y="107"/>
                  <a:pt x="373" y="107"/>
                  <a:pt x="373" y="107"/>
                </a:cubicBezTo>
                <a:cubicBezTo>
                  <a:pt x="404" y="107"/>
                  <a:pt x="404" y="107"/>
                  <a:pt x="404" y="107"/>
                </a:cubicBezTo>
                <a:cubicBezTo>
                  <a:pt x="404" y="48"/>
                  <a:pt x="404" y="48"/>
                  <a:pt x="404" y="48"/>
                </a:cubicBezTo>
                <a:lnTo>
                  <a:pt x="448" y="107"/>
                </a:lnTo>
                <a:close/>
                <a:moveTo>
                  <a:pt x="619" y="65"/>
                </a:moveTo>
                <a:cubicBezTo>
                  <a:pt x="591" y="65"/>
                  <a:pt x="591" y="65"/>
                  <a:pt x="591" y="65"/>
                </a:cubicBezTo>
                <a:cubicBezTo>
                  <a:pt x="605" y="28"/>
                  <a:pt x="605" y="28"/>
                  <a:pt x="605" y="28"/>
                </a:cubicBezTo>
                <a:lnTo>
                  <a:pt x="619" y="65"/>
                </a:lnTo>
                <a:close/>
                <a:moveTo>
                  <a:pt x="676" y="107"/>
                </a:moveTo>
                <a:cubicBezTo>
                  <a:pt x="637" y="4"/>
                  <a:pt x="637" y="4"/>
                  <a:pt x="637" y="4"/>
                </a:cubicBezTo>
                <a:cubicBezTo>
                  <a:pt x="574" y="4"/>
                  <a:pt x="574" y="4"/>
                  <a:pt x="574" y="4"/>
                </a:cubicBezTo>
                <a:cubicBezTo>
                  <a:pt x="542" y="88"/>
                  <a:pt x="542" y="88"/>
                  <a:pt x="542" y="88"/>
                </a:cubicBezTo>
                <a:cubicBezTo>
                  <a:pt x="542" y="4"/>
                  <a:pt x="542" y="4"/>
                  <a:pt x="542" y="4"/>
                </a:cubicBezTo>
                <a:cubicBezTo>
                  <a:pt x="503" y="4"/>
                  <a:pt x="503" y="4"/>
                  <a:pt x="503" y="4"/>
                </a:cubicBezTo>
                <a:cubicBezTo>
                  <a:pt x="503" y="107"/>
                  <a:pt x="503" y="107"/>
                  <a:pt x="503" y="107"/>
                </a:cubicBezTo>
                <a:cubicBezTo>
                  <a:pt x="535" y="107"/>
                  <a:pt x="535" y="107"/>
                  <a:pt x="535" y="107"/>
                </a:cubicBezTo>
                <a:cubicBezTo>
                  <a:pt x="542" y="107"/>
                  <a:pt x="542" y="107"/>
                  <a:pt x="542" y="107"/>
                </a:cubicBezTo>
                <a:cubicBezTo>
                  <a:pt x="575" y="107"/>
                  <a:pt x="575" y="107"/>
                  <a:pt x="575" y="107"/>
                </a:cubicBezTo>
                <a:cubicBezTo>
                  <a:pt x="580" y="92"/>
                  <a:pt x="580" y="92"/>
                  <a:pt x="580" y="92"/>
                </a:cubicBezTo>
                <a:cubicBezTo>
                  <a:pt x="630" y="92"/>
                  <a:pt x="630" y="92"/>
                  <a:pt x="630" y="92"/>
                </a:cubicBezTo>
                <a:cubicBezTo>
                  <a:pt x="635" y="107"/>
                  <a:pt x="635" y="107"/>
                  <a:pt x="635" y="107"/>
                </a:cubicBezTo>
                <a:lnTo>
                  <a:pt x="676" y="107"/>
                </a:lnTo>
                <a:close/>
              </a:path>
            </a:pathLst>
          </a:custGeom>
          <a:solidFill>
            <a:srgbClr val="FAFA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202766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Last Page/Chapter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/>
          <p:cNvSpPr txBox="1"/>
          <p:nvPr/>
        </p:nvSpPr>
        <p:spPr>
          <a:xfrm>
            <a:off x="0" y="-135898"/>
            <a:ext cx="133530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Last Page/Chapter Divider</a:t>
            </a:r>
          </a:p>
        </p:txBody>
      </p:sp>
      <p:pic>
        <p:nvPicPr>
          <p:cNvPr id="5" name="ScaniaSymbolLarg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8933" y="1447796"/>
            <a:ext cx="6294133" cy="354787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991586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 - Grey">
    <p:bg>
      <p:bgPr>
        <a:solidFill>
          <a:srgbClr val="53565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8" y="2646947"/>
            <a:ext cx="10152062" cy="2310064"/>
          </a:xfrm>
        </p:spPr>
        <p:txBody>
          <a:bodyPr anchor="t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5939" y="1412875"/>
            <a:ext cx="10152062" cy="1075642"/>
          </a:xfrm>
        </p:spPr>
        <p:txBody>
          <a:bodyPr anchor="b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cania Office Headline" panose="00000505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Your name</a:t>
            </a:r>
          </a:p>
        </p:txBody>
      </p:sp>
      <p:sp>
        <p:nvSpPr>
          <p:cNvPr id="7" name="ScaniaWordmark"/>
          <p:cNvSpPr>
            <a:spLocks noEditPoints="1"/>
          </p:cNvSpPr>
          <p:nvPr/>
        </p:nvSpPr>
        <p:spPr bwMode="auto">
          <a:xfrm>
            <a:off x="9852144" y="6215608"/>
            <a:ext cx="2026167" cy="343475"/>
          </a:xfrm>
          <a:custGeom>
            <a:avLst/>
            <a:gdLst>
              <a:gd name="T0" fmla="*/ 287 w 676"/>
              <a:gd name="T1" fmla="*/ 65 h 112"/>
              <a:gd name="T2" fmla="*/ 316 w 676"/>
              <a:gd name="T3" fmla="*/ 65 h 112"/>
              <a:gd name="T4" fmla="*/ 493 w 676"/>
              <a:gd name="T5" fmla="*/ 107 h 112"/>
              <a:gd name="T6" fmla="*/ 455 w 676"/>
              <a:gd name="T7" fmla="*/ 4 h 112"/>
              <a:gd name="T8" fmla="*/ 414 w 676"/>
              <a:gd name="T9" fmla="*/ 4 h 112"/>
              <a:gd name="T10" fmla="*/ 365 w 676"/>
              <a:gd name="T11" fmla="*/ 88 h 112"/>
              <a:gd name="T12" fmla="*/ 271 w 676"/>
              <a:gd name="T13" fmla="*/ 4 h 112"/>
              <a:gd name="T14" fmla="*/ 209 w 676"/>
              <a:gd name="T15" fmla="*/ 65 h 112"/>
              <a:gd name="T16" fmla="*/ 166 w 676"/>
              <a:gd name="T17" fmla="*/ 56 h 112"/>
              <a:gd name="T18" fmla="*/ 209 w 676"/>
              <a:gd name="T19" fmla="*/ 44 h 112"/>
              <a:gd name="T20" fmla="*/ 251 w 676"/>
              <a:gd name="T21" fmla="*/ 41 h 112"/>
              <a:gd name="T22" fmla="*/ 125 w 676"/>
              <a:gd name="T23" fmla="*/ 56 h 112"/>
              <a:gd name="T24" fmla="*/ 90 w 676"/>
              <a:gd name="T25" fmla="*/ 44 h 112"/>
              <a:gd name="T26" fmla="*/ 46 w 676"/>
              <a:gd name="T27" fmla="*/ 33 h 112"/>
              <a:gd name="T28" fmla="*/ 80 w 676"/>
              <a:gd name="T29" fmla="*/ 36 h 112"/>
              <a:gd name="T30" fmla="*/ 123 w 676"/>
              <a:gd name="T31" fmla="*/ 34 h 112"/>
              <a:gd name="T32" fmla="*/ 3 w 676"/>
              <a:gd name="T33" fmla="*/ 36 h 112"/>
              <a:gd name="T34" fmla="*/ 70 w 676"/>
              <a:gd name="T35" fmla="*/ 70 h 112"/>
              <a:gd name="T36" fmla="*/ 66 w 676"/>
              <a:gd name="T37" fmla="*/ 87 h 112"/>
              <a:gd name="T38" fmla="*/ 0 w 676"/>
              <a:gd name="T39" fmla="*/ 73 h 112"/>
              <a:gd name="T40" fmla="*/ 64 w 676"/>
              <a:gd name="T41" fmla="*/ 111 h 112"/>
              <a:gd name="T42" fmla="*/ 188 w 676"/>
              <a:gd name="T43" fmla="*/ 112 h 112"/>
              <a:gd name="T44" fmla="*/ 231 w 676"/>
              <a:gd name="T45" fmla="*/ 107 h 112"/>
              <a:gd name="T46" fmla="*/ 277 w 676"/>
              <a:gd name="T47" fmla="*/ 92 h 112"/>
              <a:gd name="T48" fmla="*/ 332 w 676"/>
              <a:gd name="T49" fmla="*/ 107 h 112"/>
              <a:gd name="T50" fmla="*/ 373 w 676"/>
              <a:gd name="T51" fmla="*/ 107 h 112"/>
              <a:gd name="T52" fmla="*/ 404 w 676"/>
              <a:gd name="T53" fmla="*/ 48 h 112"/>
              <a:gd name="T54" fmla="*/ 619 w 676"/>
              <a:gd name="T55" fmla="*/ 65 h 112"/>
              <a:gd name="T56" fmla="*/ 605 w 676"/>
              <a:gd name="T57" fmla="*/ 28 h 112"/>
              <a:gd name="T58" fmla="*/ 676 w 676"/>
              <a:gd name="T59" fmla="*/ 107 h 112"/>
              <a:gd name="T60" fmla="*/ 574 w 676"/>
              <a:gd name="T61" fmla="*/ 4 h 112"/>
              <a:gd name="T62" fmla="*/ 542 w 676"/>
              <a:gd name="T63" fmla="*/ 4 h 112"/>
              <a:gd name="T64" fmla="*/ 503 w 676"/>
              <a:gd name="T65" fmla="*/ 107 h 112"/>
              <a:gd name="T66" fmla="*/ 542 w 676"/>
              <a:gd name="T67" fmla="*/ 107 h 112"/>
              <a:gd name="T68" fmla="*/ 580 w 676"/>
              <a:gd name="T69" fmla="*/ 92 h 112"/>
              <a:gd name="T70" fmla="*/ 635 w 676"/>
              <a:gd name="T71" fmla="*/ 10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6" h="112">
                <a:moveTo>
                  <a:pt x="316" y="65"/>
                </a:moveTo>
                <a:cubicBezTo>
                  <a:pt x="287" y="65"/>
                  <a:pt x="287" y="65"/>
                  <a:pt x="287" y="65"/>
                </a:cubicBezTo>
                <a:cubicBezTo>
                  <a:pt x="302" y="28"/>
                  <a:pt x="302" y="28"/>
                  <a:pt x="302" y="28"/>
                </a:cubicBezTo>
                <a:lnTo>
                  <a:pt x="316" y="65"/>
                </a:lnTo>
                <a:close/>
                <a:moveTo>
                  <a:pt x="448" y="107"/>
                </a:moveTo>
                <a:cubicBezTo>
                  <a:pt x="493" y="107"/>
                  <a:pt x="493" y="107"/>
                  <a:pt x="493" y="107"/>
                </a:cubicBezTo>
                <a:cubicBezTo>
                  <a:pt x="493" y="4"/>
                  <a:pt x="493" y="4"/>
                  <a:pt x="493" y="4"/>
                </a:cubicBezTo>
                <a:cubicBezTo>
                  <a:pt x="455" y="4"/>
                  <a:pt x="455" y="4"/>
                  <a:pt x="455" y="4"/>
                </a:cubicBezTo>
                <a:cubicBezTo>
                  <a:pt x="455" y="58"/>
                  <a:pt x="455" y="58"/>
                  <a:pt x="455" y="58"/>
                </a:cubicBezTo>
                <a:cubicBezTo>
                  <a:pt x="414" y="4"/>
                  <a:pt x="414" y="4"/>
                  <a:pt x="414" y="4"/>
                </a:cubicBezTo>
                <a:cubicBezTo>
                  <a:pt x="365" y="4"/>
                  <a:pt x="365" y="4"/>
                  <a:pt x="365" y="4"/>
                </a:cubicBezTo>
                <a:cubicBezTo>
                  <a:pt x="365" y="88"/>
                  <a:pt x="365" y="88"/>
                  <a:pt x="365" y="88"/>
                </a:cubicBezTo>
                <a:cubicBezTo>
                  <a:pt x="333" y="4"/>
                  <a:pt x="333" y="4"/>
                  <a:pt x="333" y="4"/>
                </a:cubicBezTo>
                <a:cubicBezTo>
                  <a:pt x="271" y="4"/>
                  <a:pt x="271" y="4"/>
                  <a:pt x="271" y="4"/>
                </a:cubicBezTo>
                <a:cubicBezTo>
                  <a:pt x="247" y="65"/>
                  <a:pt x="247" y="65"/>
                  <a:pt x="247" y="65"/>
                </a:cubicBezTo>
                <a:cubicBezTo>
                  <a:pt x="209" y="65"/>
                  <a:pt x="209" y="65"/>
                  <a:pt x="209" y="65"/>
                </a:cubicBezTo>
                <a:cubicBezTo>
                  <a:pt x="207" y="77"/>
                  <a:pt x="200" y="83"/>
                  <a:pt x="188" y="83"/>
                </a:cubicBezTo>
                <a:cubicBezTo>
                  <a:pt x="174" y="83"/>
                  <a:pt x="166" y="73"/>
                  <a:pt x="166" y="56"/>
                </a:cubicBezTo>
                <a:cubicBezTo>
                  <a:pt x="166" y="39"/>
                  <a:pt x="174" y="28"/>
                  <a:pt x="188" y="28"/>
                </a:cubicBezTo>
                <a:cubicBezTo>
                  <a:pt x="200" y="28"/>
                  <a:pt x="207" y="34"/>
                  <a:pt x="209" y="44"/>
                </a:cubicBezTo>
                <a:cubicBezTo>
                  <a:pt x="251" y="44"/>
                  <a:pt x="251" y="44"/>
                  <a:pt x="251" y="44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51" y="18"/>
                  <a:pt x="231" y="0"/>
                  <a:pt x="188" y="0"/>
                </a:cubicBezTo>
                <a:cubicBezTo>
                  <a:pt x="142" y="0"/>
                  <a:pt x="125" y="23"/>
                  <a:pt x="125" y="56"/>
                </a:cubicBezTo>
                <a:cubicBezTo>
                  <a:pt x="125" y="56"/>
                  <a:pt x="125" y="57"/>
                  <a:pt x="125" y="58"/>
                </a:cubicBezTo>
                <a:cubicBezTo>
                  <a:pt x="119" y="51"/>
                  <a:pt x="108" y="47"/>
                  <a:pt x="90" y="44"/>
                </a:cubicBezTo>
                <a:cubicBezTo>
                  <a:pt x="63" y="40"/>
                  <a:pt x="63" y="40"/>
                  <a:pt x="63" y="40"/>
                </a:cubicBezTo>
                <a:cubicBezTo>
                  <a:pt x="53" y="39"/>
                  <a:pt x="46" y="38"/>
                  <a:pt x="46" y="33"/>
                </a:cubicBezTo>
                <a:cubicBezTo>
                  <a:pt x="46" y="28"/>
                  <a:pt x="50" y="24"/>
                  <a:pt x="61" y="24"/>
                </a:cubicBezTo>
                <a:cubicBezTo>
                  <a:pt x="73" y="24"/>
                  <a:pt x="80" y="29"/>
                  <a:pt x="80" y="36"/>
                </a:cubicBezTo>
                <a:cubicBezTo>
                  <a:pt x="123" y="36"/>
                  <a:pt x="123" y="36"/>
                  <a:pt x="123" y="36"/>
                </a:cubicBezTo>
                <a:cubicBezTo>
                  <a:pt x="123" y="34"/>
                  <a:pt x="123" y="34"/>
                  <a:pt x="123" y="34"/>
                </a:cubicBezTo>
                <a:cubicBezTo>
                  <a:pt x="123" y="13"/>
                  <a:pt x="103" y="0"/>
                  <a:pt x="63" y="0"/>
                </a:cubicBezTo>
                <a:cubicBezTo>
                  <a:pt x="21" y="0"/>
                  <a:pt x="3" y="15"/>
                  <a:pt x="3" y="36"/>
                </a:cubicBezTo>
                <a:cubicBezTo>
                  <a:pt x="3" y="53"/>
                  <a:pt x="14" y="62"/>
                  <a:pt x="39" y="66"/>
                </a:cubicBezTo>
                <a:cubicBezTo>
                  <a:pt x="70" y="70"/>
                  <a:pt x="70" y="70"/>
                  <a:pt x="70" y="70"/>
                </a:cubicBezTo>
                <a:cubicBezTo>
                  <a:pt x="80" y="72"/>
                  <a:pt x="84" y="74"/>
                  <a:pt x="84" y="78"/>
                </a:cubicBezTo>
                <a:cubicBezTo>
                  <a:pt x="84" y="84"/>
                  <a:pt x="78" y="87"/>
                  <a:pt x="66" y="87"/>
                </a:cubicBezTo>
                <a:cubicBezTo>
                  <a:pt x="52" y="87"/>
                  <a:pt x="45" y="81"/>
                  <a:pt x="45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98"/>
                  <a:pt x="22" y="111"/>
                  <a:pt x="64" y="111"/>
                </a:cubicBezTo>
                <a:cubicBezTo>
                  <a:pt x="103" y="111"/>
                  <a:pt x="126" y="103"/>
                  <a:pt x="129" y="81"/>
                </a:cubicBezTo>
                <a:cubicBezTo>
                  <a:pt x="137" y="100"/>
                  <a:pt x="156" y="112"/>
                  <a:pt x="188" y="112"/>
                </a:cubicBezTo>
                <a:cubicBezTo>
                  <a:pt x="213" y="112"/>
                  <a:pt x="228" y="105"/>
                  <a:pt x="236" y="94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271" y="107"/>
                  <a:pt x="271" y="107"/>
                  <a:pt x="271" y="107"/>
                </a:cubicBezTo>
                <a:cubicBezTo>
                  <a:pt x="277" y="92"/>
                  <a:pt x="277" y="92"/>
                  <a:pt x="277" y="92"/>
                </a:cubicBezTo>
                <a:cubicBezTo>
                  <a:pt x="326" y="92"/>
                  <a:pt x="326" y="92"/>
                  <a:pt x="326" y="92"/>
                </a:cubicBezTo>
                <a:cubicBezTo>
                  <a:pt x="332" y="107"/>
                  <a:pt x="332" y="107"/>
                  <a:pt x="332" y="107"/>
                </a:cubicBezTo>
                <a:cubicBezTo>
                  <a:pt x="365" y="107"/>
                  <a:pt x="365" y="107"/>
                  <a:pt x="365" y="107"/>
                </a:cubicBezTo>
                <a:cubicBezTo>
                  <a:pt x="373" y="107"/>
                  <a:pt x="373" y="107"/>
                  <a:pt x="373" y="107"/>
                </a:cubicBezTo>
                <a:cubicBezTo>
                  <a:pt x="404" y="107"/>
                  <a:pt x="404" y="107"/>
                  <a:pt x="404" y="107"/>
                </a:cubicBezTo>
                <a:cubicBezTo>
                  <a:pt x="404" y="48"/>
                  <a:pt x="404" y="48"/>
                  <a:pt x="404" y="48"/>
                </a:cubicBezTo>
                <a:lnTo>
                  <a:pt x="448" y="107"/>
                </a:lnTo>
                <a:close/>
                <a:moveTo>
                  <a:pt x="619" y="65"/>
                </a:moveTo>
                <a:cubicBezTo>
                  <a:pt x="591" y="65"/>
                  <a:pt x="591" y="65"/>
                  <a:pt x="591" y="65"/>
                </a:cubicBezTo>
                <a:cubicBezTo>
                  <a:pt x="605" y="28"/>
                  <a:pt x="605" y="28"/>
                  <a:pt x="605" y="28"/>
                </a:cubicBezTo>
                <a:lnTo>
                  <a:pt x="619" y="65"/>
                </a:lnTo>
                <a:close/>
                <a:moveTo>
                  <a:pt x="676" y="107"/>
                </a:moveTo>
                <a:cubicBezTo>
                  <a:pt x="637" y="4"/>
                  <a:pt x="637" y="4"/>
                  <a:pt x="637" y="4"/>
                </a:cubicBezTo>
                <a:cubicBezTo>
                  <a:pt x="574" y="4"/>
                  <a:pt x="574" y="4"/>
                  <a:pt x="574" y="4"/>
                </a:cubicBezTo>
                <a:cubicBezTo>
                  <a:pt x="542" y="88"/>
                  <a:pt x="542" y="88"/>
                  <a:pt x="542" y="88"/>
                </a:cubicBezTo>
                <a:cubicBezTo>
                  <a:pt x="542" y="4"/>
                  <a:pt x="542" y="4"/>
                  <a:pt x="542" y="4"/>
                </a:cubicBezTo>
                <a:cubicBezTo>
                  <a:pt x="503" y="4"/>
                  <a:pt x="503" y="4"/>
                  <a:pt x="503" y="4"/>
                </a:cubicBezTo>
                <a:cubicBezTo>
                  <a:pt x="503" y="107"/>
                  <a:pt x="503" y="107"/>
                  <a:pt x="503" y="107"/>
                </a:cubicBezTo>
                <a:cubicBezTo>
                  <a:pt x="535" y="107"/>
                  <a:pt x="535" y="107"/>
                  <a:pt x="535" y="107"/>
                </a:cubicBezTo>
                <a:cubicBezTo>
                  <a:pt x="542" y="107"/>
                  <a:pt x="542" y="107"/>
                  <a:pt x="542" y="107"/>
                </a:cubicBezTo>
                <a:cubicBezTo>
                  <a:pt x="575" y="107"/>
                  <a:pt x="575" y="107"/>
                  <a:pt x="575" y="107"/>
                </a:cubicBezTo>
                <a:cubicBezTo>
                  <a:pt x="580" y="92"/>
                  <a:pt x="580" y="92"/>
                  <a:pt x="580" y="92"/>
                </a:cubicBezTo>
                <a:cubicBezTo>
                  <a:pt x="630" y="92"/>
                  <a:pt x="630" y="92"/>
                  <a:pt x="630" y="92"/>
                </a:cubicBezTo>
                <a:cubicBezTo>
                  <a:pt x="635" y="107"/>
                  <a:pt x="635" y="107"/>
                  <a:pt x="635" y="107"/>
                </a:cubicBezTo>
                <a:lnTo>
                  <a:pt x="676" y="107"/>
                </a:lnTo>
                <a:close/>
              </a:path>
            </a:pathLst>
          </a:custGeom>
          <a:solidFill>
            <a:srgbClr val="FAFA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8" name="TextBox 7"/>
          <p:cNvSpPr txBox="1"/>
          <p:nvPr/>
        </p:nvSpPr>
        <p:spPr>
          <a:xfrm>
            <a:off x="0" y="-135898"/>
            <a:ext cx="84157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itle Slide - Grey</a:t>
            </a:r>
          </a:p>
        </p:txBody>
      </p:sp>
      <p:pic>
        <p:nvPicPr>
          <p:cNvPr id="6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77955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Slide -  Image">
    <p:bg>
      <p:bgPr>
        <a:solidFill>
          <a:srgbClr val="C8C9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noFill/>
        </p:spPr>
        <p:txBody>
          <a:bodyPr tIns="180000">
            <a:normAutofit/>
          </a:bodyPr>
          <a:lstStyle>
            <a:lvl1pPr marL="0" indent="0" algn="ctr">
              <a:buNone/>
              <a:defRPr sz="1000" baseline="0"/>
            </a:lvl1pPr>
          </a:lstStyle>
          <a:p>
            <a:r>
              <a:rPr lang="en-US" dirty="0"/>
              <a:t>Select the image Placeholder and use an image from Scania Image Bank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15938" y="2646947"/>
            <a:ext cx="10152062" cy="2310064"/>
          </a:xfrm>
        </p:spPr>
        <p:txBody>
          <a:bodyPr anchor="t"/>
          <a:lstStyle>
            <a:lvl1pPr algn="l">
              <a:defRPr sz="600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5939" y="1412875"/>
            <a:ext cx="10152062" cy="1075642"/>
          </a:xfrm>
        </p:spPr>
        <p:txBody>
          <a:bodyPr anchor="b">
            <a:noAutofit/>
          </a:bodyPr>
          <a:lstStyle>
            <a:lvl1pPr marL="0" indent="0" algn="l">
              <a:buNone/>
              <a:defRPr sz="1500">
                <a:solidFill>
                  <a:schemeClr val="bg1"/>
                </a:solidFill>
                <a:latin typeface="Scania Office Headline" panose="00000505000000000000" pitchFamily="2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Your name</a:t>
            </a:r>
          </a:p>
        </p:txBody>
      </p:sp>
      <p:sp>
        <p:nvSpPr>
          <p:cNvPr id="9" name="ScaniaWordmark"/>
          <p:cNvSpPr>
            <a:spLocks noEditPoints="1"/>
          </p:cNvSpPr>
          <p:nvPr/>
        </p:nvSpPr>
        <p:spPr bwMode="auto">
          <a:xfrm>
            <a:off x="9852144" y="6215608"/>
            <a:ext cx="2026167" cy="343475"/>
          </a:xfrm>
          <a:custGeom>
            <a:avLst/>
            <a:gdLst>
              <a:gd name="T0" fmla="*/ 287 w 676"/>
              <a:gd name="T1" fmla="*/ 65 h 112"/>
              <a:gd name="T2" fmla="*/ 316 w 676"/>
              <a:gd name="T3" fmla="*/ 65 h 112"/>
              <a:gd name="T4" fmla="*/ 493 w 676"/>
              <a:gd name="T5" fmla="*/ 107 h 112"/>
              <a:gd name="T6" fmla="*/ 455 w 676"/>
              <a:gd name="T7" fmla="*/ 4 h 112"/>
              <a:gd name="T8" fmla="*/ 414 w 676"/>
              <a:gd name="T9" fmla="*/ 4 h 112"/>
              <a:gd name="T10" fmla="*/ 365 w 676"/>
              <a:gd name="T11" fmla="*/ 88 h 112"/>
              <a:gd name="T12" fmla="*/ 271 w 676"/>
              <a:gd name="T13" fmla="*/ 4 h 112"/>
              <a:gd name="T14" fmla="*/ 209 w 676"/>
              <a:gd name="T15" fmla="*/ 65 h 112"/>
              <a:gd name="T16" fmla="*/ 166 w 676"/>
              <a:gd name="T17" fmla="*/ 56 h 112"/>
              <a:gd name="T18" fmla="*/ 209 w 676"/>
              <a:gd name="T19" fmla="*/ 44 h 112"/>
              <a:gd name="T20" fmla="*/ 251 w 676"/>
              <a:gd name="T21" fmla="*/ 41 h 112"/>
              <a:gd name="T22" fmla="*/ 125 w 676"/>
              <a:gd name="T23" fmla="*/ 56 h 112"/>
              <a:gd name="T24" fmla="*/ 90 w 676"/>
              <a:gd name="T25" fmla="*/ 44 h 112"/>
              <a:gd name="T26" fmla="*/ 46 w 676"/>
              <a:gd name="T27" fmla="*/ 33 h 112"/>
              <a:gd name="T28" fmla="*/ 80 w 676"/>
              <a:gd name="T29" fmla="*/ 36 h 112"/>
              <a:gd name="T30" fmla="*/ 123 w 676"/>
              <a:gd name="T31" fmla="*/ 34 h 112"/>
              <a:gd name="T32" fmla="*/ 3 w 676"/>
              <a:gd name="T33" fmla="*/ 36 h 112"/>
              <a:gd name="T34" fmla="*/ 70 w 676"/>
              <a:gd name="T35" fmla="*/ 70 h 112"/>
              <a:gd name="T36" fmla="*/ 66 w 676"/>
              <a:gd name="T37" fmla="*/ 87 h 112"/>
              <a:gd name="T38" fmla="*/ 0 w 676"/>
              <a:gd name="T39" fmla="*/ 73 h 112"/>
              <a:gd name="T40" fmla="*/ 64 w 676"/>
              <a:gd name="T41" fmla="*/ 111 h 112"/>
              <a:gd name="T42" fmla="*/ 188 w 676"/>
              <a:gd name="T43" fmla="*/ 112 h 112"/>
              <a:gd name="T44" fmla="*/ 231 w 676"/>
              <a:gd name="T45" fmla="*/ 107 h 112"/>
              <a:gd name="T46" fmla="*/ 277 w 676"/>
              <a:gd name="T47" fmla="*/ 92 h 112"/>
              <a:gd name="T48" fmla="*/ 332 w 676"/>
              <a:gd name="T49" fmla="*/ 107 h 112"/>
              <a:gd name="T50" fmla="*/ 373 w 676"/>
              <a:gd name="T51" fmla="*/ 107 h 112"/>
              <a:gd name="T52" fmla="*/ 404 w 676"/>
              <a:gd name="T53" fmla="*/ 48 h 112"/>
              <a:gd name="T54" fmla="*/ 619 w 676"/>
              <a:gd name="T55" fmla="*/ 65 h 112"/>
              <a:gd name="T56" fmla="*/ 605 w 676"/>
              <a:gd name="T57" fmla="*/ 28 h 112"/>
              <a:gd name="T58" fmla="*/ 676 w 676"/>
              <a:gd name="T59" fmla="*/ 107 h 112"/>
              <a:gd name="T60" fmla="*/ 574 w 676"/>
              <a:gd name="T61" fmla="*/ 4 h 112"/>
              <a:gd name="T62" fmla="*/ 542 w 676"/>
              <a:gd name="T63" fmla="*/ 4 h 112"/>
              <a:gd name="T64" fmla="*/ 503 w 676"/>
              <a:gd name="T65" fmla="*/ 107 h 112"/>
              <a:gd name="T66" fmla="*/ 542 w 676"/>
              <a:gd name="T67" fmla="*/ 107 h 112"/>
              <a:gd name="T68" fmla="*/ 580 w 676"/>
              <a:gd name="T69" fmla="*/ 92 h 112"/>
              <a:gd name="T70" fmla="*/ 635 w 676"/>
              <a:gd name="T71" fmla="*/ 107 h 11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676" h="112">
                <a:moveTo>
                  <a:pt x="316" y="65"/>
                </a:moveTo>
                <a:cubicBezTo>
                  <a:pt x="287" y="65"/>
                  <a:pt x="287" y="65"/>
                  <a:pt x="287" y="65"/>
                </a:cubicBezTo>
                <a:cubicBezTo>
                  <a:pt x="302" y="28"/>
                  <a:pt x="302" y="28"/>
                  <a:pt x="302" y="28"/>
                </a:cubicBezTo>
                <a:lnTo>
                  <a:pt x="316" y="65"/>
                </a:lnTo>
                <a:close/>
                <a:moveTo>
                  <a:pt x="448" y="107"/>
                </a:moveTo>
                <a:cubicBezTo>
                  <a:pt x="493" y="107"/>
                  <a:pt x="493" y="107"/>
                  <a:pt x="493" y="107"/>
                </a:cubicBezTo>
                <a:cubicBezTo>
                  <a:pt x="493" y="4"/>
                  <a:pt x="493" y="4"/>
                  <a:pt x="493" y="4"/>
                </a:cubicBezTo>
                <a:cubicBezTo>
                  <a:pt x="455" y="4"/>
                  <a:pt x="455" y="4"/>
                  <a:pt x="455" y="4"/>
                </a:cubicBezTo>
                <a:cubicBezTo>
                  <a:pt x="455" y="58"/>
                  <a:pt x="455" y="58"/>
                  <a:pt x="455" y="58"/>
                </a:cubicBezTo>
                <a:cubicBezTo>
                  <a:pt x="414" y="4"/>
                  <a:pt x="414" y="4"/>
                  <a:pt x="414" y="4"/>
                </a:cubicBezTo>
                <a:cubicBezTo>
                  <a:pt x="365" y="4"/>
                  <a:pt x="365" y="4"/>
                  <a:pt x="365" y="4"/>
                </a:cubicBezTo>
                <a:cubicBezTo>
                  <a:pt x="365" y="88"/>
                  <a:pt x="365" y="88"/>
                  <a:pt x="365" y="88"/>
                </a:cubicBezTo>
                <a:cubicBezTo>
                  <a:pt x="333" y="4"/>
                  <a:pt x="333" y="4"/>
                  <a:pt x="333" y="4"/>
                </a:cubicBezTo>
                <a:cubicBezTo>
                  <a:pt x="271" y="4"/>
                  <a:pt x="271" y="4"/>
                  <a:pt x="271" y="4"/>
                </a:cubicBezTo>
                <a:cubicBezTo>
                  <a:pt x="247" y="65"/>
                  <a:pt x="247" y="65"/>
                  <a:pt x="247" y="65"/>
                </a:cubicBezTo>
                <a:cubicBezTo>
                  <a:pt x="209" y="65"/>
                  <a:pt x="209" y="65"/>
                  <a:pt x="209" y="65"/>
                </a:cubicBezTo>
                <a:cubicBezTo>
                  <a:pt x="207" y="77"/>
                  <a:pt x="200" y="83"/>
                  <a:pt x="188" y="83"/>
                </a:cubicBezTo>
                <a:cubicBezTo>
                  <a:pt x="174" y="83"/>
                  <a:pt x="166" y="73"/>
                  <a:pt x="166" y="56"/>
                </a:cubicBezTo>
                <a:cubicBezTo>
                  <a:pt x="166" y="39"/>
                  <a:pt x="174" y="28"/>
                  <a:pt x="188" y="28"/>
                </a:cubicBezTo>
                <a:cubicBezTo>
                  <a:pt x="200" y="28"/>
                  <a:pt x="207" y="34"/>
                  <a:pt x="209" y="44"/>
                </a:cubicBezTo>
                <a:cubicBezTo>
                  <a:pt x="251" y="44"/>
                  <a:pt x="251" y="44"/>
                  <a:pt x="251" y="44"/>
                </a:cubicBezTo>
                <a:cubicBezTo>
                  <a:pt x="251" y="41"/>
                  <a:pt x="251" y="41"/>
                  <a:pt x="251" y="41"/>
                </a:cubicBezTo>
                <a:cubicBezTo>
                  <a:pt x="251" y="18"/>
                  <a:pt x="231" y="0"/>
                  <a:pt x="188" y="0"/>
                </a:cubicBezTo>
                <a:cubicBezTo>
                  <a:pt x="142" y="0"/>
                  <a:pt x="125" y="23"/>
                  <a:pt x="125" y="56"/>
                </a:cubicBezTo>
                <a:cubicBezTo>
                  <a:pt x="125" y="56"/>
                  <a:pt x="125" y="57"/>
                  <a:pt x="125" y="58"/>
                </a:cubicBezTo>
                <a:cubicBezTo>
                  <a:pt x="119" y="51"/>
                  <a:pt x="108" y="47"/>
                  <a:pt x="90" y="44"/>
                </a:cubicBezTo>
                <a:cubicBezTo>
                  <a:pt x="63" y="40"/>
                  <a:pt x="63" y="40"/>
                  <a:pt x="63" y="40"/>
                </a:cubicBezTo>
                <a:cubicBezTo>
                  <a:pt x="53" y="39"/>
                  <a:pt x="46" y="38"/>
                  <a:pt x="46" y="33"/>
                </a:cubicBezTo>
                <a:cubicBezTo>
                  <a:pt x="46" y="28"/>
                  <a:pt x="50" y="24"/>
                  <a:pt x="61" y="24"/>
                </a:cubicBezTo>
                <a:cubicBezTo>
                  <a:pt x="73" y="24"/>
                  <a:pt x="80" y="29"/>
                  <a:pt x="80" y="36"/>
                </a:cubicBezTo>
                <a:cubicBezTo>
                  <a:pt x="123" y="36"/>
                  <a:pt x="123" y="36"/>
                  <a:pt x="123" y="36"/>
                </a:cubicBezTo>
                <a:cubicBezTo>
                  <a:pt x="123" y="34"/>
                  <a:pt x="123" y="34"/>
                  <a:pt x="123" y="34"/>
                </a:cubicBezTo>
                <a:cubicBezTo>
                  <a:pt x="123" y="13"/>
                  <a:pt x="103" y="0"/>
                  <a:pt x="63" y="0"/>
                </a:cubicBezTo>
                <a:cubicBezTo>
                  <a:pt x="21" y="0"/>
                  <a:pt x="3" y="15"/>
                  <a:pt x="3" y="36"/>
                </a:cubicBezTo>
                <a:cubicBezTo>
                  <a:pt x="3" y="53"/>
                  <a:pt x="14" y="62"/>
                  <a:pt x="39" y="66"/>
                </a:cubicBezTo>
                <a:cubicBezTo>
                  <a:pt x="70" y="70"/>
                  <a:pt x="70" y="70"/>
                  <a:pt x="70" y="70"/>
                </a:cubicBezTo>
                <a:cubicBezTo>
                  <a:pt x="80" y="72"/>
                  <a:pt x="84" y="74"/>
                  <a:pt x="84" y="78"/>
                </a:cubicBezTo>
                <a:cubicBezTo>
                  <a:pt x="84" y="84"/>
                  <a:pt x="78" y="87"/>
                  <a:pt x="66" y="87"/>
                </a:cubicBezTo>
                <a:cubicBezTo>
                  <a:pt x="52" y="87"/>
                  <a:pt x="45" y="81"/>
                  <a:pt x="45" y="73"/>
                </a:cubicBezTo>
                <a:cubicBezTo>
                  <a:pt x="0" y="73"/>
                  <a:pt x="0" y="73"/>
                  <a:pt x="0" y="73"/>
                </a:cubicBezTo>
                <a:cubicBezTo>
                  <a:pt x="0" y="75"/>
                  <a:pt x="0" y="75"/>
                  <a:pt x="0" y="75"/>
                </a:cubicBezTo>
                <a:cubicBezTo>
                  <a:pt x="0" y="98"/>
                  <a:pt x="22" y="111"/>
                  <a:pt x="64" y="111"/>
                </a:cubicBezTo>
                <a:cubicBezTo>
                  <a:pt x="103" y="111"/>
                  <a:pt x="126" y="103"/>
                  <a:pt x="129" y="81"/>
                </a:cubicBezTo>
                <a:cubicBezTo>
                  <a:pt x="137" y="100"/>
                  <a:pt x="156" y="112"/>
                  <a:pt x="188" y="112"/>
                </a:cubicBezTo>
                <a:cubicBezTo>
                  <a:pt x="213" y="112"/>
                  <a:pt x="228" y="105"/>
                  <a:pt x="236" y="94"/>
                </a:cubicBezTo>
                <a:cubicBezTo>
                  <a:pt x="231" y="107"/>
                  <a:pt x="231" y="107"/>
                  <a:pt x="231" y="107"/>
                </a:cubicBezTo>
                <a:cubicBezTo>
                  <a:pt x="271" y="107"/>
                  <a:pt x="271" y="107"/>
                  <a:pt x="271" y="107"/>
                </a:cubicBezTo>
                <a:cubicBezTo>
                  <a:pt x="277" y="92"/>
                  <a:pt x="277" y="92"/>
                  <a:pt x="277" y="92"/>
                </a:cubicBezTo>
                <a:cubicBezTo>
                  <a:pt x="326" y="92"/>
                  <a:pt x="326" y="92"/>
                  <a:pt x="326" y="92"/>
                </a:cubicBezTo>
                <a:cubicBezTo>
                  <a:pt x="332" y="107"/>
                  <a:pt x="332" y="107"/>
                  <a:pt x="332" y="107"/>
                </a:cubicBezTo>
                <a:cubicBezTo>
                  <a:pt x="365" y="107"/>
                  <a:pt x="365" y="107"/>
                  <a:pt x="365" y="107"/>
                </a:cubicBezTo>
                <a:cubicBezTo>
                  <a:pt x="373" y="107"/>
                  <a:pt x="373" y="107"/>
                  <a:pt x="373" y="107"/>
                </a:cubicBezTo>
                <a:cubicBezTo>
                  <a:pt x="404" y="107"/>
                  <a:pt x="404" y="107"/>
                  <a:pt x="404" y="107"/>
                </a:cubicBezTo>
                <a:cubicBezTo>
                  <a:pt x="404" y="48"/>
                  <a:pt x="404" y="48"/>
                  <a:pt x="404" y="48"/>
                </a:cubicBezTo>
                <a:lnTo>
                  <a:pt x="448" y="107"/>
                </a:lnTo>
                <a:close/>
                <a:moveTo>
                  <a:pt x="619" y="65"/>
                </a:moveTo>
                <a:cubicBezTo>
                  <a:pt x="591" y="65"/>
                  <a:pt x="591" y="65"/>
                  <a:pt x="591" y="65"/>
                </a:cubicBezTo>
                <a:cubicBezTo>
                  <a:pt x="605" y="28"/>
                  <a:pt x="605" y="28"/>
                  <a:pt x="605" y="28"/>
                </a:cubicBezTo>
                <a:lnTo>
                  <a:pt x="619" y="65"/>
                </a:lnTo>
                <a:close/>
                <a:moveTo>
                  <a:pt x="676" y="107"/>
                </a:moveTo>
                <a:cubicBezTo>
                  <a:pt x="637" y="4"/>
                  <a:pt x="637" y="4"/>
                  <a:pt x="637" y="4"/>
                </a:cubicBezTo>
                <a:cubicBezTo>
                  <a:pt x="574" y="4"/>
                  <a:pt x="574" y="4"/>
                  <a:pt x="574" y="4"/>
                </a:cubicBezTo>
                <a:cubicBezTo>
                  <a:pt x="542" y="88"/>
                  <a:pt x="542" y="88"/>
                  <a:pt x="542" y="88"/>
                </a:cubicBezTo>
                <a:cubicBezTo>
                  <a:pt x="542" y="4"/>
                  <a:pt x="542" y="4"/>
                  <a:pt x="542" y="4"/>
                </a:cubicBezTo>
                <a:cubicBezTo>
                  <a:pt x="503" y="4"/>
                  <a:pt x="503" y="4"/>
                  <a:pt x="503" y="4"/>
                </a:cubicBezTo>
                <a:cubicBezTo>
                  <a:pt x="503" y="107"/>
                  <a:pt x="503" y="107"/>
                  <a:pt x="503" y="107"/>
                </a:cubicBezTo>
                <a:cubicBezTo>
                  <a:pt x="535" y="107"/>
                  <a:pt x="535" y="107"/>
                  <a:pt x="535" y="107"/>
                </a:cubicBezTo>
                <a:cubicBezTo>
                  <a:pt x="542" y="107"/>
                  <a:pt x="542" y="107"/>
                  <a:pt x="542" y="107"/>
                </a:cubicBezTo>
                <a:cubicBezTo>
                  <a:pt x="575" y="107"/>
                  <a:pt x="575" y="107"/>
                  <a:pt x="575" y="107"/>
                </a:cubicBezTo>
                <a:cubicBezTo>
                  <a:pt x="580" y="92"/>
                  <a:pt x="580" y="92"/>
                  <a:pt x="580" y="92"/>
                </a:cubicBezTo>
                <a:cubicBezTo>
                  <a:pt x="630" y="92"/>
                  <a:pt x="630" y="92"/>
                  <a:pt x="630" y="92"/>
                </a:cubicBezTo>
                <a:cubicBezTo>
                  <a:pt x="635" y="107"/>
                  <a:pt x="635" y="107"/>
                  <a:pt x="635" y="107"/>
                </a:cubicBezTo>
                <a:lnTo>
                  <a:pt x="676" y="107"/>
                </a:lnTo>
                <a:close/>
              </a:path>
            </a:pathLst>
          </a:custGeom>
          <a:solidFill>
            <a:srgbClr val="FAFAFA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0" y="-135898"/>
            <a:ext cx="913712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itle Slide - Image</a:t>
            </a:r>
          </a:p>
        </p:txBody>
      </p:sp>
    </p:spTree>
    <p:extLst>
      <p:ext uri="{BB962C8B-B14F-4D97-AF65-F5344CB8AC3E}">
        <p14:creationId xmlns:p14="http://schemas.microsoft.com/office/powerpoint/2010/main" val="3998026811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Rubrik och innehå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1pPr>
              <a:defRPr/>
            </a:lvl1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itle 6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0" y="-135898"/>
            <a:ext cx="87684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itle and Content</a:t>
            </a:r>
          </a:p>
        </p:txBody>
      </p:sp>
      <p:pic>
        <p:nvPicPr>
          <p:cNvPr id="8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392428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5937" y="1787096"/>
            <a:ext cx="3487103" cy="416285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spcBef>
                <a:spcPts val="500"/>
              </a:spcBef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8" name="Content Placeholder 2"/>
          <p:cNvSpPr>
            <a:spLocks noGrp="1"/>
          </p:cNvSpPr>
          <p:nvPr>
            <p:ph idx="13" hasCustomPrompt="1"/>
          </p:nvPr>
        </p:nvSpPr>
        <p:spPr>
          <a:xfrm>
            <a:off x="4348163" y="1787096"/>
            <a:ext cx="3487103" cy="416285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spcBef>
                <a:spcPts val="500"/>
              </a:spcBef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Content Placeholder 2"/>
          <p:cNvSpPr>
            <a:spLocks noGrp="1"/>
          </p:cNvSpPr>
          <p:nvPr>
            <p:ph idx="14" hasCustomPrompt="1"/>
          </p:nvPr>
        </p:nvSpPr>
        <p:spPr>
          <a:xfrm>
            <a:off x="8180389" y="1787096"/>
            <a:ext cx="3487103" cy="4162854"/>
          </a:xfrm>
        </p:spPr>
        <p:txBody>
          <a:bodyPr>
            <a:noAutofit/>
          </a:bodyPr>
          <a:lstStyle>
            <a:lvl1pPr>
              <a:defRPr sz="1600"/>
            </a:lvl1pPr>
            <a:lvl2pPr>
              <a:spcBef>
                <a:spcPts val="500"/>
              </a:spcBef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extBox 10"/>
          <p:cNvSpPr txBox="1"/>
          <p:nvPr/>
        </p:nvSpPr>
        <p:spPr>
          <a:xfrm>
            <a:off x="0" y="-135898"/>
            <a:ext cx="732573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hree Content</a:t>
            </a:r>
          </a:p>
        </p:txBody>
      </p:sp>
      <p:pic>
        <p:nvPicPr>
          <p:cNvPr id="10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7339057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0" y="-135898"/>
            <a:ext cx="282129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Blank</a:t>
            </a:r>
          </a:p>
        </p:txBody>
      </p:sp>
      <p:pic>
        <p:nvPicPr>
          <p:cNvPr id="6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9692818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One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5937" y="1787096"/>
            <a:ext cx="3492501" cy="4160344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348163" y="1773239"/>
            <a:ext cx="7327900" cy="4176712"/>
          </a:xfrm>
          <a:solidFill>
            <a:schemeClr val="accent3"/>
          </a:solidFill>
        </p:spPr>
        <p:txBody>
          <a:bodyPr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sv-SE" dirty="0"/>
              <a:t>Click to add picture or use an </a:t>
            </a:r>
            <a:r>
              <a:rPr lang="en-US" dirty="0"/>
              <a:t>image from Scania Image Bank</a:t>
            </a:r>
            <a:endParaRPr lang="sv-SE" dirty="0"/>
          </a:p>
        </p:txBody>
      </p:sp>
      <p:sp>
        <p:nvSpPr>
          <p:cNvPr id="11" name="TextBox 10"/>
          <p:cNvSpPr txBox="1"/>
          <p:nvPr/>
        </p:nvSpPr>
        <p:spPr>
          <a:xfrm>
            <a:off x="0" y="-135898"/>
            <a:ext cx="54502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One Image</a:t>
            </a:r>
          </a:p>
        </p:txBody>
      </p:sp>
      <p:pic>
        <p:nvPicPr>
          <p:cNvPr id="9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6141846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wo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5937" y="1787096"/>
            <a:ext cx="3492501" cy="4160344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4348163" y="1773239"/>
            <a:ext cx="3495675" cy="4176712"/>
          </a:xfrm>
          <a:solidFill>
            <a:schemeClr val="accent3"/>
          </a:solidFill>
        </p:spPr>
        <p:txBody>
          <a:bodyPr lIns="360000" rIns="360000"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sv-SE" dirty="0"/>
              <a:t>Click to add picture or use an </a:t>
            </a:r>
            <a:r>
              <a:rPr lang="en-US" dirty="0"/>
              <a:t>image from Scania Image Bank</a:t>
            </a:r>
            <a:endParaRPr lang="sv-SE" dirty="0"/>
          </a:p>
        </p:txBody>
      </p:sp>
      <p:sp>
        <p:nvSpPr>
          <p:cNvPr id="11" name="Picture Placeholder 9"/>
          <p:cNvSpPr>
            <a:spLocks noGrp="1"/>
          </p:cNvSpPr>
          <p:nvPr>
            <p:ph type="pic" sz="quarter" idx="14" hasCustomPrompt="1"/>
          </p:nvPr>
        </p:nvSpPr>
        <p:spPr>
          <a:xfrm>
            <a:off x="8180386" y="1773239"/>
            <a:ext cx="3495675" cy="4176712"/>
          </a:xfrm>
          <a:solidFill>
            <a:schemeClr val="accent3"/>
          </a:solidFill>
        </p:spPr>
        <p:txBody>
          <a:bodyPr lIns="360000" rIns="360000"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sv-SE" dirty="0"/>
              <a:t>Click to add picture or use an </a:t>
            </a:r>
            <a:r>
              <a:rPr lang="en-US" dirty="0"/>
              <a:t>image from Scania Image Bank</a:t>
            </a:r>
            <a:endParaRPr lang="sv-SE" dirty="0"/>
          </a:p>
        </p:txBody>
      </p:sp>
      <p:sp>
        <p:nvSpPr>
          <p:cNvPr id="13" name="TextBox 12"/>
          <p:cNvSpPr txBox="1"/>
          <p:nvPr/>
        </p:nvSpPr>
        <p:spPr>
          <a:xfrm>
            <a:off x="0" y="-135898"/>
            <a:ext cx="612347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wo Images</a:t>
            </a:r>
          </a:p>
        </p:txBody>
      </p:sp>
      <p:pic>
        <p:nvPicPr>
          <p:cNvPr id="12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269872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Imag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add tit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515937" y="4042611"/>
            <a:ext cx="3492501" cy="1907339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0" name="Picture Placeholder 9"/>
          <p:cNvSpPr>
            <a:spLocks noGrp="1"/>
          </p:cNvSpPr>
          <p:nvPr>
            <p:ph type="pic" sz="quarter" idx="13" hasCustomPrompt="1"/>
          </p:nvPr>
        </p:nvSpPr>
        <p:spPr>
          <a:xfrm>
            <a:off x="512763" y="1773239"/>
            <a:ext cx="3495675" cy="1987490"/>
          </a:xfrm>
          <a:solidFill>
            <a:schemeClr val="accent3"/>
          </a:solidFill>
        </p:spPr>
        <p:txBody>
          <a:bodyPr lIns="360000" rIns="360000" anchor="ctr">
            <a:normAutofit/>
          </a:bodyPr>
          <a:lstStyle>
            <a:lvl1pPr marL="0" indent="0" algn="ctr">
              <a:buNone/>
              <a:defRPr sz="1000"/>
            </a:lvl1pPr>
          </a:lstStyle>
          <a:p>
            <a:r>
              <a:rPr lang="sv-SE" dirty="0"/>
              <a:t>Click to add picture or use an </a:t>
            </a:r>
            <a:r>
              <a:rPr lang="en-US" dirty="0"/>
              <a:t>image from Scania Image Bank</a:t>
            </a:r>
            <a:endParaRPr lang="sv-SE" dirty="0"/>
          </a:p>
        </p:txBody>
      </p:sp>
      <p:sp>
        <p:nvSpPr>
          <p:cNvPr id="12" name="Content Placeholder 2"/>
          <p:cNvSpPr>
            <a:spLocks noGrp="1"/>
          </p:cNvSpPr>
          <p:nvPr>
            <p:ph idx="15" hasCustomPrompt="1"/>
          </p:nvPr>
        </p:nvSpPr>
        <p:spPr>
          <a:xfrm>
            <a:off x="4349748" y="4042611"/>
            <a:ext cx="3492501" cy="1907339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3" name="Picture Placeholder 9"/>
          <p:cNvSpPr>
            <a:spLocks noGrp="1"/>
          </p:cNvSpPr>
          <p:nvPr>
            <p:ph type="pic" sz="quarter" idx="16" hasCustomPrompt="1"/>
          </p:nvPr>
        </p:nvSpPr>
        <p:spPr>
          <a:xfrm>
            <a:off x="4346574" y="1773239"/>
            <a:ext cx="3495675" cy="1987490"/>
          </a:xfrm>
          <a:solidFill>
            <a:schemeClr val="accent3"/>
          </a:solidFill>
        </p:spPr>
        <p:txBody>
          <a:bodyPr lIns="360000" rIns="36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r>
              <a:rPr lang="sv-SE" dirty="0"/>
              <a:t>Click to add picture or use an </a:t>
            </a:r>
            <a:r>
              <a:rPr lang="en-US" dirty="0"/>
              <a:t>image from Scania Image Bank</a:t>
            </a:r>
            <a:endParaRPr lang="sv-SE" dirty="0"/>
          </a:p>
        </p:txBody>
      </p:sp>
      <p:sp>
        <p:nvSpPr>
          <p:cNvPr id="14" name="Content Placeholder 2"/>
          <p:cNvSpPr>
            <a:spLocks noGrp="1"/>
          </p:cNvSpPr>
          <p:nvPr>
            <p:ph idx="17" hasCustomPrompt="1"/>
          </p:nvPr>
        </p:nvSpPr>
        <p:spPr>
          <a:xfrm>
            <a:off x="8183559" y="4042611"/>
            <a:ext cx="3492501" cy="1907339"/>
          </a:xfrm>
        </p:spPr>
        <p:txBody>
          <a:bodyPr/>
          <a:lstStyle/>
          <a:p>
            <a:pPr lvl="0"/>
            <a:r>
              <a:rPr lang="en-US" dirty="0"/>
              <a:t>Click to add text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Picture Placeholder 9"/>
          <p:cNvSpPr>
            <a:spLocks noGrp="1"/>
          </p:cNvSpPr>
          <p:nvPr>
            <p:ph type="pic" sz="quarter" idx="18" hasCustomPrompt="1"/>
          </p:nvPr>
        </p:nvSpPr>
        <p:spPr>
          <a:xfrm>
            <a:off x="8180385" y="1773239"/>
            <a:ext cx="3495675" cy="1987490"/>
          </a:xfrm>
          <a:solidFill>
            <a:schemeClr val="accent3"/>
          </a:solidFill>
        </p:spPr>
        <p:txBody>
          <a:bodyPr lIns="360000" rIns="360000" anchor="ctr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500"/>
              </a:spcBef>
              <a:spcAft>
                <a:spcPts val="0"/>
              </a:spcAft>
              <a:buClr>
                <a:schemeClr val="accent1"/>
              </a:buClr>
              <a:buSzTx/>
              <a:buFont typeface="Arial" panose="020B0604020202020204" pitchFamily="34" charset="0"/>
              <a:buNone/>
              <a:tabLst/>
              <a:defRPr sz="1000"/>
            </a:lvl1pPr>
          </a:lstStyle>
          <a:p>
            <a:r>
              <a:rPr lang="sv-SE" dirty="0"/>
              <a:t>Click to add picture or use an </a:t>
            </a:r>
            <a:r>
              <a:rPr lang="en-US" dirty="0"/>
              <a:t>image from Scania Image Bank</a:t>
            </a:r>
            <a:endParaRPr lang="sv-SE" dirty="0"/>
          </a:p>
        </p:txBody>
      </p:sp>
      <p:sp>
        <p:nvSpPr>
          <p:cNvPr id="17" name="TextBox 16"/>
          <p:cNvSpPr txBox="1"/>
          <p:nvPr/>
        </p:nvSpPr>
        <p:spPr>
          <a:xfrm>
            <a:off x="0" y="-135898"/>
            <a:ext cx="690895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800" b="1" dirty="0">
                <a:solidFill>
                  <a:schemeClr val="accent1"/>
                </a:solidFill>
              </a:rPr>
              <a:t>Three Images</a:t>
            </a:r>
          </a:p>
        </p:txBody>
      </p:sp>
      <p:pic>
        <p:nvPicPr>
          <p:cNvPr id="16" name="ScaniaSymbol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689" t="22977" r="20094" b="23512"/>
          <a:stretch/>
        </p:blipFill>
        <p:spPr>
          <a:xfrm>
            <a:off x="11391926" y="261969"/>
            <a:ext cx="595533" cy="5381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114853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15938" y="365125"/>
            <a:ext cx="10585556" cy="104775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sv-SE"/>
              <a:t>Klicka här för att ändra format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15937" y="1787096"/>
            <a:ext cx="11160124" cy="416285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r>
              <a:rPr lang="en-US" dirty="0"/>
              <a:t>Eighth level</a:t>
            </a:r>
          </a:p>
          <a:p>
            <a:pPr lvl="8"/>
            <a:r>
              <a:rPr lang="en-US" dirty="0"/>
              <a:t>Nin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515936" y="6396945"/>
            <a:ext cx="1044000" cy="2137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02096" y="6396945"/>
            <a:ext cx="6593660" cy="2137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aim process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169226" y="6396945"/>
            <a:ext cx="506835" cy="213783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accent1"/>
                </a:solidFill>
              </a:defRPr>
            </a:lvl1pPr>
          </a:lstStyle>
          <a:p>
            <a:fld id="{0183C6E6-4335-4428-AB21-BBACF8148F3A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2" name="xxLanguageTextBox"/>
          <p:cNvSpPr/>
          <p:nvPr>
            <p:custDataLst>
              <p:tags r:id="rId20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xxLanguageTextBox">
            <a:extLst>
              <a:ext uri="{FF2B5EF4-FFF2-40B4-BE49-F238E27FC236}">
                <a16:creationId xmlns:a16="http://schemas.microsoft.com/office/drawing/2014/main" id="{1523B199-49A4-48A7-A7DE-E43548089EE2}"/>
              </a:ext>
            </a:extLst>
          </p:cNvPr>
          <p:cNvSpPr/>
          <p:nvPr userDrawn="1">
            <p:custDataLst>
              <p:tags r:id="rId21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xxVersionTextBox">
            <a:extLst>
              <a:ext uri="{FF2B5EF4-FFF2-40B4-BE49-F238E27FC236}">
                <a16:creationId xmlns:a16="http://schemas.microsoft.com/office/drawing/2014/main" id="{EF265D5B-A62F-4C41-AD15-31B8AA309BD0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2700" cy="12700"/>
          </a:xfrm>
          <a:prstGeom prst="rect">
            <a:avLst/>
          </a:prstGeom>
          <a:noFill/>
          <a:ln w="12700" cap="flat" cmpd="sng" algn="ctr">
            <a:noFill/>
            <a:prstDash val="solid"/>
            <a:miter lim="800000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90000"/>
              </a:lnSpc>
              <a:spcBef>
                <a:spcPts val="1200"/>
              </a:spcBef>
            </a:pPr>
            <a:endParaRPr lang="sv-SE" sz="2400" dirty="0" err="1"/>
          </a:p>
        </p:txBody>
      </p:sp>
    </p:spTree>
    <p:extLst>
      <p:ext uri="{BB962C8B-B14F-4D97-AF65-F5344CB8AC3E}">
        <p14:creationId xmlns:p14="http://schemas.microsoft.com/office/powerpoint/2010/main" val="5574423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7" r:id="rId4"/>
    <p:sldLayoutId id="2147483708" r:id="rId5"/>
    <p:sldLayoutId id="2147483709" r:id="rId6"/>
    <p:sldLayoutId id="2147483710" r:id="rId7"/>
    <p:sldLayoutId id="2147483711" r:id="rId8"/>
    <p:sldLayoutId id="2147483712" r:id="rId9"/>
    <p:sldLayoutId id="2147483713" r:id="rId10"/>
    <p:sldLayoutId id="2147483714" r:id="rId11"/>
    <p:sldLayoutId id="2147483715" r:id="rId12"/>
    <p:sldLayoutId id="2147483716" r:id="rId13"/>
    <p:sldLayoutId id="2147483717" r:id="rId14"/>
    <p:sldLayoutId id="2147483718" r:id="rId15"/>
    <p:sldLayoutId id="2147483719" r:id="rId16"/>
    <p:sldLayoutId id="2147483720" r:id="rId17"/>
    <p:sldLayoutId id="2147483721" r:id="rId18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600" b="0" kern="1200" baseline="0">
          <a:solidFill>
            <a:schemeClr val="accent1"/>
          </a:solidFill>
          <a:latin typeface="Scania Office Bold" panose="00000800000000000000" pitchFamily="2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536575" indent="-268288" algn="l" defTabSz="914400" rtl="0" eaLnBrk="1" latinLnBrk="0" hangingPunct="1">
        <a:lnSpc>
          <a:spcPct val="90000"/>
        </a:lnSpc>
        <a:spcBef>
          <a:spcPts val="1200"/>
        </a:spcBef>
        <a:buClr>
          <a:schemeClr val="accent1"/>
        </a:buClr>
        <a:buFontTx/>
        <a:buChar char="−"/>
        <a:defRPr sz="2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893763" indent="-3571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Tx/>
        <a:buChar char="−"/>
        <a:defRPr sz="2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1258888" indent="-365125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Tx/>
        <a:buChar char="−"/>
        <a:defRPr sz="2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1616075" indent="-357188" algn="l" defTabSz="914400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Tx/>
        <a:buChar char="−"/>
        <a:defRPr sz="2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1974850" indent="-358775" algn="l" defTabSz="914400" rtl="0" eaLnBrk="1" latinLnBrk="0" hangingPunct="1">
        <a:lnSpc>
          <a:spcPct val="90000"/>
        </a:lnSpc>
        <a:spcBef>
          <a:spcPts val="500"/>
        </a:spcBef>
        <a:buFont typeface="Scania Office" panose="00000500000000000000" pitchFamily="2" charset="0"/>
        <a:buChar char="–"/>
        <a:defRPr sz="1800" kern="1200" baseline="0">
          <a:solidFill>
            <a:schemeClr val="accent1"/>
          </a:solidFill>
          <a:latin typeface="+mn-lt"/>
          <a:ea typeface="+mn-ea"/>
          <a:cs typeface="+mn-cs"/>
        </a:defRPr>
      </a:lvl6pPr>
      <a:lvl7pPr marL="2335213" indent="-360363" algn="l" defTabSz="914400" rtl="0" eaLnBrk="1" latinLnBrk="0" hangingPunct="1">
        <a:lnSpc>
          <a:spcPct val="90000"/>
        </a:lnSpc>
        <a:spcBef>
          <a:spcPts val="500"/>
        </a:spcBef>
        <a:buFont typeface="Scania Office" panose="00000500000000000000" pitchFamily="2" charset="0"/>
        <a:buChar char="–"/>
        <a:defRPr sz="1800" kern="1200" baseline="0">
          <a:solidFill>
            <a:schemeClr val="accent1"/>
          </a:solidFill>
          <a:latin typeface="+mn-lt"/>
          <a:ea typeface="+mn-ea"/>
          <a:cs typeface="+mn-cs"/>
        </a:defRPr>
      </a:lvl7pPr>
      <a:lvl8pPr marL="2687638" indent="-352425" algn="l" defTabSz="914400" rtl="0" eaLnBrk="1" latinLnBrk="0" hangingPunct="1">
        <a:lnSpc>
          <a:spcPct val="90000"/>
        </a:lnSpc>
        <a:spcBef>
          <a:spcPts val="500"/>
        </a:spcBef>
        <a:buFont typeface="Scania Office" panose="00000500000000000000" pitchFamily="2" charset="0"/>
        <a:buChar char="–"/>
        <a:defRPr sz="1800" kern="1200">
          <a:solidFill>
            <a:schemeClr val="accent1"/>
          </a:solidFill>
          <a:latin typeface="+mn-lt"/>
          <a:ea typeface="+mn-ea"/>
          <a:cs typeface="+mn-cs"/>
        </a:defRPr>
      </a:lvl8pPr>
      <a:lvl9pPr marL="3048000" indent="-360363" algn="l" defTabSz="914400" rtl="0" eaLnBrk="1" latinLnBrk="0" hangingPunct="1">
        <a:lnSpc>
          <a:spcPct val="90000"/>
        </a:lnSpc>
        <a:spcBef>
          <a:spcPts val="500"/>
        </a:spcBef>
        <a:buFont typeface="Scania Office" panose="00000500000000000000" pitchFamily="2" charset="0"/>
        <a:buChar char="–"/>
        <a:defRPr sz="1800" kern="1200">
          <a:solidFill>
            <a:schemeClr val="accent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2" orient="horz" pos="2160" userDrawn="1">
          <p15:clr>
            <a:srgbClr val="F26B43"/>
          </p15:clr>
        </p15:guide>
        <p15:guide id="13" pos="325" userDrawn="1">
          <p15:clr>
            <a:srgbClr val="F26B43"/>
          </p15:clr>
        </p15:guide>
        <p15:guide id="14" pos="7355" userDrawn="1">
          <p15:clr>
            <a:srgbClr val="F26B43"/>
          </p15:clr>
        </p15:guide>
        <p15:guide id="15" pos="2739" userDrawn="1">
          <p15:clr>
            <a:srgbClr val="F26B43"/>
          </p15:clr>
        </p15:guide>
        <p15:guide id="16" pos="5155" userDrawn="1">
          <p15:clr>
            <a:srgbClr val="F26B43"/>
          </p15:clr>
        </p15:guide>
        <p15:guide id="17" orient="horz" pos="1117" userDrawn="1">
          <p15:clr>
            <a:srgbClr val="F26B43"/>
          </p15:clr>
        </p15:guide>
        <p15:guide id="18" orient="horz" pos="3748" userDrawn="1">
          <p15:clr>
            <a:srgbClr val="F26B43"/>
          </p15:clr>
        </p15:guide>
        <p15:guide id="19" pos="2525" userDrawn="1">
          <p15:clr>
            <a:srgbClr val="F26B43"/>
          </p15:clr>
        </p15:guide>
        <p15:guide id="20" pos="4941" userDrawn="1">
          <p15:clr>
            <a:srgbClr val="F26B43"/>
          </p15:clr>
        </p15:guide>
        <p15:guide id="21" orient="horz" pos="890" userDrawn="1">
          <p15:clr>
            <a:srgbClr val="F26B43"/>
          </p15:clr>
        </p15:guide>
        <p15:guide id="22" orient="horz" pos="23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7" Type="http://schemas.openxmlformats.org/officeDocument/2006/relationships/image" Target="../media/image5.pn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5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emf"/><Relationship Id="rId3" Type="http://schemas.openxmlformats.org/officeDocument/2006/relationships/image" Target="../media/image8.png"/><Relationship Id="rId7" Type="http://schemas.openxmlformats.org/officeDocument/2006/relationships/image" Target="../media/image12.em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11.emf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packaging.transports-nordic@scania.com" TargetMode="External"/><Relationship Id="rId2" Type="http://schemas.openxmlformats.org/officeDocument/2006/relationships/hyperlink" Target="mailto:inbound.transport-nordic@Scania.com" TargetMode="External"/><Relationship Id="rId1" Type="http://schemas.openxmlformats.org/officeDocument/2006/relationships/slideLayout" Target="../slideLayouts/slideLayout4.xml"/><Relationship Id="rId6" Type="http://schemas.openxmlformats.org/officeDocument/2006/relationships/hyperlink" Target="mailto:component.planning@scania.com" TargetMode="External"/><Relationship Id="rId5" Type="http://schemas.openxmlformats.org/officeDocument/2006/relationships/hyperlink" Target="mailto:packaging.transports-europe@scania.com" TargetMode="External"/><Relationship Id="rId4" Type="http://schemas.openxmlformats.org/officeDocument/2006/relationships/hyperlink" Target="mailto:inbound.transport-eurpe@scania.com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en-US" dirty="0"/>
              <a:t>Quick guide Selfbilling</a:t>
            </a:r>
          </a:p>
        </p:txBody>
      </p:sp>
      <p:sp>
        <p:nvSpPr>
          <p:cNvPr id="7" name="Subtitle 6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road-transports</a:t>
            </a:r>
          </a:p>
        </p:txBody>
      </p:sp>
    </p:spTree>
    <p:extLst>
      <p:ext uri="{BB962C8B-B14F-4D97-AF65-F5344CB8AC3E}">
        <p14:creationId xmlns:p14="http://schemas.microsoft.com/office/powerpoint/2010/main" val="12146860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46D1D558-3CE1-4FC1-ABBF-CEA030EB9ED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 dirty="0"/>
              <a:t>2019-01-28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C098CD25-42F6-45C1-A2FF-D25FB1E889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Quick guide </a:t>
            </a:r>
            <a:r>
              <a:rPr lang="en-US" dirty="0" err="1"/>
              <a:t>selfbilling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159BA20F-BC36-491C-9C90-39F02C9E4A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pPr/>
              <a:t>2</a:t>
            </a:fld>
            <a:endParaRPr lang="en-US" dirty="0"/>
          </a:p>
        </p:txBody>
      </p:sp>
      <p:sp>
        <p:nvSpPr>
          <p:cNvPr id="6" name="Rubrik 5">
            <a:extLst>
              <a:ext uri="{FF2B5EF4-FFF2-40B4-BE49-F238E27FC236}">
                <a16:creationId xmlns:a16="http://schemas.microsoft.com/office/drawing/2014/main" id="{11FCFA5B-81A5-47FC-866A-EA79936A35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365125"/>
            <a:ext cx="10585556" cy="698172"/>
          </a:xfrm>
        </p:spPr>
        <p:txBody>
          <a:bodyPr/>
          <a:lstStyle/>
          <a:p>
            <a:r>
              <a:rPr lang="sv-SE" dirty="0"/>
              <a:t>Invoicing process</a:t>
            </a:r>
          </a:p>
        </p:txBody>
      </p:sp>
      <p:cxnSp>
        <p:nvCxnSpPr>
          <p:cNvPr id="60" name="Straight Arrow Connector 39">
            <a:extLst>
              <a:ext uri="{FF2B5EF4-FFF2-40B4-BE49-F238E27FC236}">
                <a16:creationId xmlns:a16="http://schemas.microsoft.com/office/drawing/2014/main" id="{7D0D2193-E11C-458F-94D8-1AB7B6381126}"/>
              </a:ext>
            </a:extLst>
          </p:cNvPr>
          <p:cNvCxnSpPr/>
          <p:nvPr/>
        </p:nvCxnSpPr>
        <p:spPr bwMode="auto">
          <a:xfrm>
            <a:off x="2657364" y="2172276"/>
            <a:ext cx="10578" cy="3469877"/>
          </a:xfrm>
          <a:prstGeom prst="straightConnector1">
            <a:avLst/>
          </a:prstGeom>
          <a:solidFill>
            <a:srgbClr val="B6B6B6"/>
          </a:solidFill>
          <a:ln w="12700" cap="flat" cmpd="sng" algn="ctr">
            <a:solidFill>
              <a:srgbClr val="000080"/>
            </a:solidFill>
            <a:prstDash val="solid"/>
            <a:round/>
            <a:headEnd type="none" w="med" len="med"/>
            <a:tailEnd type="arrow"/>
          </a:ln>
          <a:effectLst/>
        </p:spPr>
      </p:cxnSp>
      <p:sp>
        <p:nvSpPr>
          <p:cNvPr id="61" name="Rectangle 70">
            <a:extLst>
              <a:ext uri="{FF2B5EF4-FFF2-40B4-BE49-F238E27FC236}">
                <a16:creationId xmlns:a16="http://schemas.microsoft.com/office/drawing/2014/main" id="{73B5EAFE-6074-4046-88C6-60E02F4B86D3}"/>
              </a:ext>
            </a:extLst>
          </p:cNvPr>
          <p:cNvSpPr>
            <a:spLocks noChangeArrowheads="1"/>
          </p:cNvSpPr>
          <p:nvPr/>
        </p:nvSpPr>
        <p:spPr bwMode="gray">
          <a:xfrm>
            <a:off x="691995" y="2172277"/>
            <a:ext cx="1145073" cy="1357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882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Supplier</a:t>
            </a:r>
          </a:p>
        </p:txBody>
      </p:sp>
      <p:sp>
        <p:nvSpPr>
          <p:cNvPr id="62" name="AutoShape 71">
            <a:extLst>
              <a:ext uri="{FF2B5EF4-FFF2-40B4-BE49-F238E27FC236}">
                <a16:creationId xmlns:a16="http://schemas.microsoft.com/office/drawing/2014/main" id="{4C2EE24A-CBD9-4247-BC3F-8987572BFB0D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1498201" y="2576086"/>
            <a:ext cx="195849" cy="174281"/>
          </a:xfrm>
          <a:prstGeom prst="rightArrow">
            <a:avLst>
              <a:gd name="adj1" fmla="val 57250"/>
              <a:gd name="adj2" fmla="val 39511"/>
            </a:avLst>
          </a:prstGeom>
          <a:solidFill>
            <a:srgbClr val="FFFFFF">
              <a:lumMod val="8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9422" tIns="44713" rIns="89422" bIns="44713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1" i="0" u="none" strike="noStrike" kern="0" cap="none" spc="0" normalizeH="0" baseline="0" noProof="0" dirty="0">
              <a:ln>
                <a:noFill/>
              </a:ln>
              <a:solidFill>
                <a:srgbClr val="000080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pic>
        <p:nvPicPr>
          <p:cNvPr id="63" name="Picture 72" descr="MC900441741[1]">
            <a:extLst>
              <a:ext uri="{FF2B5EF4-FFF2-40B4-BE49-F238E27FC236}">
                <a16:creationId xmlns:a16="http://schemas.microsoft.com/office/drawing/2014/main" id="{B5AA2127-008E-4869-8B27-2806C1A3C0C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gray">
          <a:xfrm>
            <a:off x="1290920" y="2900887"/>
            <a:ext cx="557719" cy="354084"/>
          </a:xfrm>
          <a:prstGeom prst="rect">
            <a:avLst/>
          </a:prstGeom>
          <a:noFill/>
        </p:spPr>
      </p:pic>
      <p:pic>
        <p:nvPicPr>
          <p:cNvPr id="64" name="Picture 84" descr="Factory Clip Art">
            <a:extLst>
              <a:ext uri="{FF2B5EF4-FFF2-40B4-BE49-F238E27FC236}">
                <a16:creationId xmlns:a16="http://schemas.microsoft.com/office/drawing/2014/main" id="{81730FE0-68E5-4965-8D21-39F76038D2B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gray">
          <a:xfrm>
            <a:off x="1360999" y="5935058"/>
            <a:ext cx="445952" cy="400835"/>
          </a:xfrm>
          <a:prstGeom prst="rect">
            <a:avLst/>
          </a:prstGeom>
          <a:noFill/>
        </p:spPr>
      </p:pic>
      <p:sp>
        <p:nvSpPr>
          <p:cNvPr id="65" name="Rectangle 96">
            <a:extLst>
              <a:ext uri="{FF2B5EF4-FFF2-40B4-BE49-F238E27FC236}">
                <a16:creationId xmlns:a16="http://schemas.microsoft.com/office/drawing/2014/main" id="{3B81E6F6-44A5-49DB-B924-6B4CDC72F159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6806" y="3013203"/>
            <a:ext cx="759233" cy="1357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882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Transport</a:t>
            </a:r>
          </a:p>
        </p:txBody>
      </p:sp>
      <p:sp>
        <p:nvSpPr>
          <p:cNvPr id="66" name="Rectangle 104">
            <a:extLst>
              <a:ext uri="{FF2B5EF4-FFF2-40B4-BE49-F238E27FC236}">
                <a16:creationId xmlns:a16="http://schemas.microsoft.com/office/drawing/2014/main" id="{52CBED50-FD4D-4411-B296-1FD91D184A78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6807" y="6064425"/>
            <a:ext cx="874362" cy="271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882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Scania production</a:t>
            </a:r>
          </a:p>
        </p:txBody>
      </p:sp>
      <p:pic>
        <p:nvPicPr>
          <p:cNvPr id="67" name="Picture 84" descr="Factory Clip Art">
            <a:extLst>
              <a:ext uri="{FF2B5EF4-FFF2-40B4-BE49-F238E27FC236}">
                <a16:creationId xmlns:a16="http://schemas.microsoft.com/office/drawing/2014/main" id="{A36A4815-D665-4BBC-9E19-4038A4C103D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/>
          <a:srcRect/>
          <a:stretch>
            <a:fillRect/>
          </a:stretch>
        </p:blipFill>
        <p:spPr bwMode="gray">
          <a:xfrm>
            <a:off x="1334226" y="1894482"/>
            <a:ext cx="445952" cy="400835"/>
          </a:xfrm>
          <a:prstGeom prst="rect">
            <a:avLst/>
          </a:prstGeom>
          <a:noFill/>
        </p:spPr>
      </p:pic>
      <p:sp>
        <p:nvSpPr>
          <p:cNvPr id="68" name="Rectangle 96">
            <a:extLst>
              <a:ext uri="{FF2B5EF4-FFF2-40B4-BE49-F238E27FC236}">
                <a16:creationId xmlns:a16="http://schemas.microsoft.com/office/drawing/2014/main" id="{605F1A41-DCF8-4733-9DA5-CE4D30FA7592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6806" y="3885710"/>
            <a:ext cx="863058" cy="27146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882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Terminals</a:t>
            </a:r>
          </a:p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882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cross-docks</a:t>
            </a:r>
          </a:p>
        </p:txBody>
      </p:sp>
      <p:pic>
        <p:nvPicPr>
          <p:cNvPr id="69" name="Picture 316" descr="building, factory, house icon">
            <a:extLst>
              <a:ext uri="{FF2B5EF4-FFF2-40B4-BE49-F238E27FC236}">
                <a16:creationId xmlns:a16="http://schemas.microsoft.com/office/drawing/2014/main" id="{7C07A2B4-15AD-4DC3-8E30-A95D89FEEAE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 cstate="screen"/>
          <a:srcRect/>
          <a:stretch>
            <a:fillRect/>
          </a:stretch>
        </p:blipFill>
        <p:spPr bwMode="auto">
          <a:xfrm>
            <a:off x="1271852" y="3862326"/>
            <a:ext cx="520559" cy="4140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70" name="AutoShape 71">
            <a:extLst>
              <a:ext uri="{FF2B5EF4-FFF2-40B4-BE49-F238E27FC236}">
                <a16:creationId xmlns:a16="http://schemas.microsoft.com/office/drawing/2014/main" id="{BAF2F753-CBE8-4293-91CF-1440CDE4755A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1498589" y="4544927"/>
            <a:ext cx="195849" cy="174281"/>
          </a:xfrm>
          <a:prstGeom prst="rightArrow">
            <a:avLst>
              <a:gd name="adj1" fmla="val 57250"/>
              <a:gd name="adj2" fmla="val 39511"/>
            </a:avLst>
          </a:prstGeom>
          <a:solidFill>
            <a:srgbClr val="FFFFFF">
              <a:lumMod val="8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9422" tIns="44713" rIns="89422" bIns="44713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1" i="0" u="none" strike="noStrike" kern="0" cap="none" spc="0" normalizeH="0" baseline="0" noProof="0" dirty="0">
              <a:ln>
                <a:noFill/>
              </a:ln>
              <a:solidFill>
                <a:srgbClr val="000080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sp>
        <p:nvSpPr>
          <p:cNvPr id="71" name="AutoShape 71">
            <a:extLst>
              <a:ext uri="{FF2B5EF4-FFF2-40B4-BE49-F238E27FC236}">
                <a16:creationId xmlns:a16="http://schemas.microsoft.com/office/drawing/2014/main" id="{89154773-8512-4BCA-82CF-5B6D39D26987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1498588" y="3494605"/>
            <a:ext cx="195849" cy="174281"/>
          </a:xfrm>
          <a:prstGeom prst="rightArrow">
            <a:avLst>
              <a:gd name="adj1" fmla="val 57250"/>
              <a:gd name="adj2" fmla="val 39511"/>
            </a:avLst>
          </a:prstGeom>
          <a:solidFill>
            <a:srgbClr val="FFFFFF">
              <a:lumMod val="8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9422" tIns="44713" rIns="89422" bIns="44713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1" i="0" u="none" strike="noStrike" kern="0" cap="none" spc="0" normalizeH="0" baseline="0" noProof="0" dirty="0">
              <a:ln>
                <a:noFill/>
              </a:ln>
              <a:solidFill>
                <a:srgbClr val="000080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pic>
        <p:nvPicPr>
          <p:cNvPr id="72" name="Picture 72" descr="MC900441741[1]">
            <a:extLst>
              <a:ext uri="{FF2B5EF4-FFF2-40B4-BE49-F238E27FC236}">
                <a16:creationId xmlns:a16="http://schemas.microsoft.com/office/drawing/2014/main" id="{F739A7E8-B51F-464B-BE33-F599628195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/>
          <a:srcRect/>
          <a:stretch>
            <a:fillRect/>
          </a:stretch>
        </p:blipFill>
        <p:spPr bwMode="gray">
          <a:xfrm>
            <a:off x="1264532" y="4933882"/>
            <a:ext cx="557719" cy="354084"/>
          </a:xfrm>
          <a:prstGeom prst="rect">
            <a:avLst/>
          </a:prstGeom>
          <a:noFill/>
        </p:spPr>
      </p:pic>
      <p:sp>
        <p:nvSpPr>
          <p:cNvPr id="73" name="Rectangle 96">
            <a:extLst>
              <a:ext uri="{FF2B5EF4-FFF2-40B4-BE49-F238E27FC236}">
                <a16:creationId xmlns:a16="http://schemas.microsoft.com/office/drawing/2014/main" id="{307F6C4D-4039-46AA-9816-C31B5C742D7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46806" y="5041002"/>
            <a:ext cx="759233" cy="135734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882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Transport</a:t>
            </a:r>
          </a:p>
        </p:txBody>
      </p:sp>
      <p:sp>
        <p:nvSpPr>
          <p:cNvPr id="74" name="AutoShape 71">
            <a:extLst>
              <a:ext uri="{FF2B5EF4-FFF2-40B4-BE49-F238E27FC236}">
                <a16:creationId xmlns:a16="http://schemas.microsoft.com/office/drawing/2014/main" id="{671D2990-E492-4C20-BF85-D5D474A6B1FB}"/>
              </a:ext>
            </a:extLst>
          </p:cNvPr>
          <p:cNvSpPr>
            <a:spLocks noChangeArrowheads="1"/>
          </p:cNvSpPr>
          <p:nvPr/>
        </p:nvSpPr>
        <p:spPr bwMode="gray">
          <a:xfrm rot="5400000">
            <a:off x="1498588" y="5541744"/>
            <a:ext cx="195849" cy="174281"/>
          </a:xfrm>
          <a:prstGeom prst="rightArrow">
            <a:avLst>
              <a:gd name="adj1" fmla="val 57250"/>
              <a:gd name="adj2" fmla="val 39511"/>
            </a:avLst>
          </a:prstGeom>
          <a:solidFill>
            <a:srgbClr val="FFFFFF">
              <a:lumMod val="85000"/>
            </a:srgbClr>
          </a:solidFill>
          <a:ln w="9525">
            <a:noFill/>
            <a:miter lim="800000"/>
            <a:headEnd/>
            <a:tailEnd/>
          </a:ln>
          <a:effectLst/>
        </p:spPr>
        <p:txBody>
          <a:bodyPr wrap="none" lIns="89422" tIns="44713" rIns="89422" bIns="44713" anchor="ctr"/>
          <a:lstStyle/>
          <a:p>
            <a:pPr marL="0" marR="0" lvl="0" indent="0" defTabSz="91440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372" b="1" i="0" u="none" strike="noStrike" kern="0" cap="none" spc="0" normalizeH="0" baseline="0" noProof="0" dirty="0">
              <a:ln>
                <a:noFill/>
              </a:ln>
              <a:solidFill>
                <a:srgbClr val="000080"/>
              </a:solidFill>
              <a:effectLst/>
              <a:uLnTx/>
              <a:uFillTx/>
              <a:latin typeface="Arial" charset="0"/>
              <a:cs typeface="Arial"/>
            </a:endParaRPr>
          </a:p>
        </p:txBody>
      </p:sp>
      <p:sp>
        <p:nvSpPr>
          <p:cNvPr id="75" name="Rectangle 70">
            <a:extLst>
              <a:ext uri="{FF2B5EF4-FFF2-40B4-BE49-F238E27FC236}">
                <a16:creationId xmlns:a16="http://schemas.microsoft.com/office/drawing/2014/main" id="{C8F5309D-C6C8-41EA-87F1-272AC193062A}"/>
              </a:ext>
            </a:extLst>
          </p:cNvPr>
          <p:cNvSpPr>
            <a:spLocks noChangeArrowheads="1"/>
          </p:cNvSpPr>
          <p:nvPr/>
        </p:nvSpPr>
        <p:spPr bwMode="gray">
          <a:xfrm>
            <a:off x="2501922" y="1971916"/>
            <a:ext cx="332042" cy="1357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882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Time</a:t>
            </a:r>
          </a:p>
        </p:txBody>
      </p:sp>
      <p:sp>
        <p:nvSpPr>
          <p:cNvPr id="76" name="Rectangle 70">
            <a:extLst>
              <a:ext uri="{FF2B5EF4-FFF2-40B4-BE49-F238E27FC236}">
                <a16:creationId xmlns:a16="http://schemas.microsoft.com/office/drawing/2014/main" id="{81F81956-6FB9-4B39-8153-324D9CA249B1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42562" y="2726063"/>
            <a:ext cx="332042" cy="1508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W.1</a:t>
            </a:r>
          </a:p>
        </p:txBody>
      </p:sp>
      <p:sp>
        <p:nvSpPr>
          <p:cNvPr id="77" name="Rectangle 70">
            <a:extLst>
              <a:ext uri="{FF2B5EF4-FFF2-40B4-BE49-F238E27FC236}">
                <a16:creationId xmlns:a16="http://schemas.microsoft.com/office/drawing/2014/main" id="{4CF0A74B-5D6F-45C4-B880-A83B430D2CB3}"/>
              </a:ext>
            </a:extLst>
          </p:cNvPr>
          <p:cNvSpPr>
            <a:spLocks noChangeArrowheads="1"/>
          </p:cNvSpPr>
          <p:nvPr/>
        </p:nvSpPr>
        <p:spPr bwMode="gray">
          <a:xfrm>
            <a:off x="2086100" y="4477993"/>
            <a:ext cx="332042" cy="1508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W.2</a:t>
            </a:r>
          </a:p>
        </p:txBody>
      </p:sp>
      <p:grpSp>
        <p:nvGrpSpPr>
          <p:cNvPr id="78" name="Group 9">
            <a:extLst>
              <a:ext uri="{FF2B5EF4-FFF2-40B4-BE49-F238E27FC236}">
                <a16:creationId xmlns:a16="http://schemas.microsoft.com/office/drawing/2014/main" id="{8D6B56AB-25AD-4A2A-845F-6FF38F2A2838}"/>
              </a:ext>
            </a:extLst>
          </p:cNvPr>
          <p:cNvGrpSpPr>
            <a:grpSpLocks/>
          </p:cNvGrpSpPr>
          <p:nvPr/>
        </p:nvGrpSpPr>
        <p:grpSpPr bwMode="auto">
          <a:xfrm>
            <a:off x="4778398" y="2926437"/>
            <a:ext cx="5023710" cy="1219360"/>
            <a:chOff x="2043" y="769"/>
            <a:chExt cx="1681" cy="947"/>
          </a:xfrm>
        </p:grpSpPr>
        <p:sp>
          <p:nvSpPr>
            <p:cNvPr id="79" name="Rectangle 10">
              <a:extLst>
                <a:ext uri="{FF2B5EF4-FFF2-40B4-BE49-F238E27FC236}">
                  <a16:creationId xmlns:a16="http://schemas.microsoft.com/office/drawing/2014/main" id="{496F8393-3E96-428B-8A9A-8C21D4370E55}"/>
                </a:ext>
              </a:extLst>
            </p:cNvPr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2043" y="904"/>
              <a:ext cx="1681" cy="812"/>
            </a:xfrm>
            <a:prstGeom prst="rect">
              <a:avLst/>
            </a:prstGeom>
            <a:solidFill>
              <a:srgbClr val="FFFFFF"/>
            </a:solidFill>
            <a:ln w="19050" algn="ctr">
              <a:solidFill>
                <a:srgbClr val="083366"/>
              </a:solidFill>
              <a:miter lim="800000"/>
              <a:headEnd/>
              <a:tailEnd/>
            </a:ln>
            <a:effectLst/>
          </p:spPr>
          <p:txBody>
            <a:bodyPr wrap="none" anchor="b"/>
            <a:lstStyle/>
            <a:p>
              <a:pPr marL="168021" marR="0" lvl="0" indent="-168021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80"/>
                  </a:solidFill>
                  <a:effectLst/>
                  <a:uLnTx/>
                  <a:uFillTx/>
                  <a:latin typeface="Arial" charset="0"/>
                  <a:cs typeface="Arial"/>
                </a:rPr>
                <a:t>Creates credit note every Friday evening. </a:t>
              </a:r>
            </a:p>
            <a:p>
              <a:pPr marL="168021" marR="0" lvl="0" indent="-168021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80"/>
                  </a:solidFill>
                  <a:effectLst/>
                  <a:uLnTx/>
                  <a:uFillTx/>
                  <a:latin typeface="Arial" charset="0"/>
                  <a:cs typeface="Arial"/>
                </a:rPr>
                <a:t>It includes finalized transports from the week before. A transport is finalized when goods</a:t>
              </a:r>
            </a:p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80"/>
                  </a:solidFill>
                  <a:effectLst/>
                  <a:uLnTx/>
                  <a:uFillTx/>
                  <a:latin typeface="Arial" charset="0"/>
                  <a:cs typeface="Arial"/>
                </a:rPr>
                <a:t>     reached end-destination:</a:t>
              </a:r>
            </a:p>
            <a:p>
              <a:pPr marL="168021" marR="0" lvl="0" indent="-168021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80"/>
                  </a:solidFill>
                  <a:effectLst/>
                  <a:uLnTx/>
                  <a:uFillTx/>
                  <a:latin typeface="Arial" charset="0"/>
                  <a:cs typeface="Arial"/>
                </a:rPr>
                <a:t>For inbound (parts): Goods arrived at Scania. Including pre-collection leg</a:t>
              </a:r>
            </a:p>
            <a:p>
              <a:pPr marL="168021" marR="0" lvl="0" indent="-168021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80"/>
                  </a:solidFill>
                  <a:effectLst/>
                  <a:uLnTx/>
                  <a:uFillTx/>
                  <a:latin typeface="Arial" charset="0"/>
                  <a:cs typeface="Arial"/>
                </a:rPr>
                <a:t>For outbound (packaging): Goods arrived at supplier/packaging pool. Carrier sent delivered </a:t>
              </a:r>
            </a:p>
            <a:p>
              <a:pPr marL="168021" marR="0" lvl="0" indent="-168021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US" sz="900" b="0" i="0" u="none" strike="noStrike" kern="0" cap="none" spc="0" normalizeH="0" baseline="0" noProof="0" dirty="0">
                  <a:ln>
                    <a:noFill/>
                  </a:ln>
                  <a:solidFill>
                    <a:srgbClr val="000080"/>
                  </a:solidFill>
                  <a:effectLst/>
                  <a:uLnTx/>
                  <a:uFillTx/>
                  <a:latin typeface="Arial" charset="0"/>
                  <a:cs typeface="Arial"/>
                </a:rPr>
                <a:t>status</a:t>
              </a:r>
            </a:p>
          </p:txBody>
        </p:sp>
        <p:sp>
          <p:nvSpPr>
            <p:cNvPr id="80" name="Rectangle 11">
              <a:extLst>
                <a:ext uri="{FF2B5EF4-FFF2-40B4-BE49-F238E27FC236}">
                  <a16:creationId xmlns:a16="http://schemas.microsoft.com/office/drawing/2014/main" id="{8EB6685C-8A2D-4320-A08F-88D98B502DA2}"/>
                </a:ext>
              </a:extLst>
            </p:cNvPr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2043" y="769"/>
              <a:ext cx="1681" cy="217"/>
            </a:xfrm>
            <a:prstGeom prst="rect">
              <a:avLst/>
            </a:prstGeom>
            <a:solidFill>
              <a:srgbClr val="083366"/>
            </a:solidFill>
            <a:ln w="19050" algn="ctr">
              <a:solidFill>
                <a:srgbClr val="083366"/>
              </a:solidFill>
              <a:miter lim="800000"/>
              <a:headEnd/>
              <a:tailEnd/>
            </a:ln>
            <a:effectLst/>
          </p:spPr>
          <p:txBody>
            <a:bodyPr wrap="none" lIns="0" tIns="0" rIns="0" bIns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900" b="0" i="0" u="none" strike="noStrike" kern="0" cap="none" spc="0" normalizeH="0" baseline="0" noProof="0" dirty="0">
                <a:ln>
                  <a:noFill/>
                </a:ln>
                <a:solidFill>
                  <a:srgbClr val="000080"/>
                </a:solidFill>
                <a:effectLst/>
                <a:uLnTx/>
                <a:uFillTx/>
                <a:latin typeface="Arial" charset="0"/>
                <a:cs typeface="Arial"/>
              </a:endParaRPr>
            </a:p>
          </p:txBody>
        </p:sp>
        <p:sp>
          <p:nvSpPr>
            <p:cNvPr id="81" name="Rectangle 13">
              <a:extLst>
                <a:ext uri="{FF2B5EF4-FFF2-40B4-BE49-F238E27FC236}">
                  <a16:creationId xmlns:a16="http://schemas.microsoft.com/office/drawing/2014/main" id="{F4BF860B-9FC2-46E5-856D-0D39D865EC95}"/>
                </a:ext>
              </a:extLst>
            </p:cNvPr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2071" y="796"/>
              <a:ext cx="1575" cy="129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0" marR="0" lvl="0" indent="0" defTabSz="877795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0080"/>
                </a:buClr>
                <a:buSzTx/>
                <a:buFontTx/>
                <a:buNone/>
                <a:tabLst/>
                <a:defRPr/>
              </a:pPr>
              <a:r>
                <a:rPr kumimoji="0" lang="en-US" sz="1078" b="1" i="0" u="none" strike="noStrike" kern="0" cap="none" spc="0" normalizeH="0" baseline="0" noProof="0" dirty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Arial" charset="0"/>
                  <a:cs typeface="Arial"/>
                </a:rPr>
                <a:t>Final billing run</a:t>
              </a:r>
            </a:p>
          </p:txBody>
        </p:sp>
      </p:grpSp>
      <p:cxnSp>
        <p:nvCxnSpPr>
          <p:cNvPr id="86" name="Straight Arrow Connector 70">
            <a:extLst>
              <a:ext uri="{FF2B5EF4-FFF2-40B4-BE49-F238E27FC236}">
                <a16:creationId xmlns:a16="http://schemas.microsoft.com/office/drawing/2014/main" id="{F5180695-7502-4E36-8F1D-58FDE90692B8}"/>
              </a:ext>
            </a:extLst>
          </p:cNvPr>
          <p:cNvCxnSpPr/>
          <p:nvPr/>
        </p:nvCxnSpPr>
        <p:spPr bwMode="auto">
          <a:xfrm>
            <a:off x="2661399" y="5382736"/>
            <a:ext cx="477970" cy="14230"/>
          </a:xfrm>
          <a:prstGeom prst="straightConnector1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triangle"/>
          </a:ln>
          <a:effectLst/>
        </p:spPr>
      </p:cxnSp>
      <p:sp>
        <p:nvSpPr>
          <p:cNvPr id="87" name="Rectangle 70">
            <a:extLst>
              <a:ext uri="{FF2B5EF4-FFF2-40B4-BE49-F238E27FC236}">
                <a16:creationId xmlns:a16="http://schemas.microsoft.com/office/drawing/2014/main" id="{7814747E-5B55-42D4-9EFF-CD812381ED4E}"/>
              </a:ext>
            </a:extLst>
          </p:cNvPr>
          <p:cNvSpPr>
            <a:spLocks noChangeArrowheads="1"/>
          </p:cNvSpPr>
          <p:nvPr/>
        </p:nvSpPr>
        <p:spPr bwMode="gray">
          <a:xfrm>
            <a:off x="3639505" y="5330696"/>
            <a:ext cx="792178" cy="361958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784" b="1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Billing run 1</a:t>
            </a:r>
          </a:p>
          <a:p>
            <a:pPr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784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Transports finished w. 1</a:t>
            </a:r>
          </a:p>
        </p:txBody>
      </p:sp>
      <p:sp>
        <p:nvSpPr>
          <p:cNvPr id="88" name="Flowchart: Document 72">
            <a:extLst>
              <a:ext uri="{FF2B5EF4-FFF2-40B4-BE49-F238E27FC236}">
                <a16:creationId xmlns:a16="http://schemas.microsoft.com/office/drawing/2014/main" id="{1BFD4E69-B901-47C3-B978-D0FD4D1D60FC}"/>
              </a:ext>
            </a:extLst>
          </p:cNvPr>
          <p:cNvSpPr/>
          <p:nvPr/>
        </p:nvSpPr>
        <p:spPr>
          <a:xfrm>
            <a:off x="3175394" y="5259626"/>
            <a:ext cx="444362" cy="549341"/>
          </a:xfrm>
          <a:prstGeom prst="flowChartDocument">
            <a:avLst/>
          </a:prstGeom>
          <a:pattFill prst="wdUpDiag">
            <a:fgClr>
              <a:srgbClr val="B6B6B6"/>
            </a:fgClr>
            <a:bgClr>
              <a:srgbClr val="FFFFFF"/>
            </a:bgClr>
          </a:pattFill>
          <a:ln w="9525" cap="flat" cmpd="sng" algn="ctr">
            <a:solidFill>
              <a:srgbClr val="B6B6B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87445" tIns="43723" rIns="87445" bIns="43723" rtlCol="0" anchor="t"/>
          <a:lstStyle/>
          <a:p>
            <a:pPr marL="0" marR="0" lvl="0" indent="0" algn="ctr" defTabSz="87438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sv-SE" sz="588" b="1" i="0" u="none" strike="noStrike" kern="0" cap="none" spc="0" normalizeH="0" baseline="0" noProof="0" dirty="0" err="1">
                <a:ln>
                  <a:noFill/>
                </a:ln>
                <a:solidFill>
                  <a:srgbClr val="05143F">
                    <a:lumMod val="90000"/>
                    <a:lumOff val="10000"/>
                  </a:srgbClr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Invoice</a:t>
            </a:r>
            <a:endParaRPr kumimoji="0" lang="en-GB" sz="588" b="1" i="0" u="none" strike="noStrike" kern="0" cap="none" spc="0" normalizeH="0" baseline="0" noProof="0" dirty="0">
              <a:ln>
                <a:noFill/>
              </a:ln>
              <a:solidFill>
                <a:srgbClr val="05143F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90" name="Rectangle 14">
            <a:extLst>
              <a:ext uri="{FF2B5EF4-FFF2-40B4-BE49-F238E27FC236}">
                <a16:creationId xmlns:a16="http://schemas.microsoft.com/office/drawing/2014/main" id="{665F6B12-309D-49D9-8CB9-DC5B15115E43}"/>
              </a:ext>
            </a:extLst>
          </p:cNvPr>
          <p:cNvSpPr/>
          <p:nvPr/>
        </p:nvSpPr>
        <p:spPr>
          <a:xfrm>
            <a:off x="2802828" y="2228024"/>
            <a:ext cx="101410" cy="1517630"/>
          </a:xfrm>
          <a:prstGeom prst="rect">
            <a:avLst/>
          </a:prstGeom>
          <a:pattFill prst="wdUpDiag">
            <a:fgClr>
              <a:srgbClr val="B6B6B6"/>
            </a:fgClr>
            <a:bgClr>
              <a:srgbClr val="FFFFFF"/>
            </a:bgClr>
          </a:pattFill>
          <a:ln w="9525" cap="flat" cmpd="sng" algn="ctr">
            <a:solidFill>
              <a:srgbClr val="B6B6B6">
                <a:shade val="95000"/>
                <a:satMod val="105000"/>
              </a:srgbClr>
            </a:solidFill>
            <a:prstDash val="solid"/>
          </a:ln>
          <a:effectLst>
            <a:outerShdw blurRad="40000" dist="20000" dir="5400000" rotWithShape="0">
              <a:srgbClr val="000000">
                <a:alpha val="38000"/>
              </a:srgbClr>
            </a:outerShdw>
          </a:effectLst>
        </p:spPr>
        <p:txBody>
          <a:bodyPr lIns="87445" tIns="43723" rIns="87445" bIns="43723" rtlCol="0" anchor="ctr"/>
          <a:lstStyle/>
          <a:p>
            <a:pPr marL="0" marR="0" lvl="0" indent="0" algn="ctr" defTabSz="874381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GB" sz="980" b="1" i="0" u="none" strike="noStrike" kern="0" cap="none" spc="0" normalizeH="0" baseline="0" noProof="0" dirty="0">
              <a:ln>
                <a:noFill/>
              </a:ln>
              <a:solidFill>
                <a:srgbClr val="05143F">
                  <a:lumMod val="90000"/>
                  <a:lumOff val="10000"/>
                </a:srgbClr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cxnSp>
        <p:nvCxnSpPr>
          <p:cNvPr id="91" name="Straight Connector 79">
            <a:extLst>
              <a:ext uri="{FF2B5EF4-FFF2-40B4-BE49-F238E27FC236}">
                <a16:creationId xmlns:a16="http://schemas.microsoft.com/office/drawing/2014/main" id="{8B27C0EC-33F8-47E6-8D23-F2E876035558}"/>
              </a:ext>
            </a:extLst>
          </p:cNvPr>
          <p:cNvCxnSpPr/>
          <p:nvPr/>
        </p:nvCxnSpPr>
        <p:spPr bwMode="auto">
          <a:xfrm>
            <a:off x="2569680" y="2485736"/>
            <a:ext cx="153394" cy="0"/>
          </a:xfrm>
          <a:prstGeom prst="line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2" name="Straight Connector 80">
            <a:extLst>
              <a:ext uri="{FF2B5EF4-FFF2-40B4-BE49-F238E27FC236}">
                <a16:creationId xmlns:a16="http://schemas.microsoft.com/office/drawing/2014/main" id="{F61CA41E-7F9B-4E24-94AA-A4D0C98F365E}"/>
              </a:ext>
            </a:extLst>
          </p:cNvPr>
          <p:cNvCxnSpPr/>
          <p:nvPr/>
        </p:nvCxnSpPr>
        <p:spPr bwMode="auto">
          <a:xfrm>
            <a:off x="2569680" y="2773914"/>
            <a:ext cx="153394" cy="0"/>
          </a:xfrm>
          <a:prstGeom prst="line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3" name="Straight Connector 84">
            <a:extLst>
              <a:ext uri="{FF2B5EF4-FFF2-40B4-BE49-F238E27FC236}">
                <a16:creationId xmlns:a16="http://schemas.microsoft.com/office/drawing/2014/main" id="{8ED80582-1DBA-45EA-93A3-B6B1A6D5F9E6}"/>
              </a:ext>
            </a:extLst>
          </p:cNvPr>
          <p:cNvCxnSpPr/>
          <p:nvPr/>
        </p:nvCxnSpPr>
        <p:spPr bwMode="auto">
          <a:xfrm>
            <a:off x="2569680" y="2236807"/>
            <a:ext cx="153394" cy="0"/>
          </a:xfrm>
          <a:prstGeom prst="line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94" name="Rectangle 70">
            <a:extLst>
              <a:ext uri="{FF2B5EF4-FFF2-40B4-BE49-F238E27FC236}">
                <a16:creationId xmlns:a16="http://schemas.microsoft.com/office/drawing/2014/main" id="{DD25B785-A5A7-4CFF-8ED6-2AE4145E25BE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73747" y="2266894"/>
            <a:ext cx="105834" cy="13573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M</a:t>
            </a:r>
          </a:p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 T</a:t>
            </a:r>
          </a:p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 W</a:t>
            </a:r>
          </a:p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 T</a:t>
            </a:r>
          </a:p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 F</a:t>
            </a:r>
          </a:p>
        </p:txBody>
      </p:sp>
      <p:cxnSp>
        <p:nvCxnSpPr>
          <p:cNvPr id="95" name="Straight Connector 88">
            <a:extLst>
              <a:ext uri="{FF2B5EF4-FFF2-40B4-BE49-F238E27FC236}">
                <a16:creationId xmlns:a16="http://schemas.microsoft.com/office/drawing/2014/main" id="{7AF75046-5A6F-4DB0-AB89-D2C8AB5FF13B}"/>
              </a:ext>
            </a:extLst>
          </p:cNvPr>
          <p:cNvCxnSpPr/>
          <p:nvPr/>
        </p:nvCxnSpPr>
        <p:spPr bwMode="auto">
          <a:xfrm flipV="1">
            <a:off x="2526665" y="3750229"/>
            <a:ext cx="289027" cy="126"/>
          </a:xfrm>
          <a:prstGeom prst="line">
            <a:avLst/>
          </a:prstGeom>
          <a:solidFill>
            <a:srgbClr val="B6B6B6"/>
          </a:solidFill>
          <a:ln w="19050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6" name="Straight Connector 90">
            <a:extLst>
              <a:ext uri="{FF2B5EF4-FFF2-40B4-BE49-F238E27FC236}">
                <a16:creationId xmlns:a16="http://schemas.microsoft.com/office/drawing/2014/main" id="{9DEA1FC7-DE86-41D2-9E5E-2B04022DB2B6}"/>
              </a:ext>
            </a:extLst>
          </p:cNvPr>
          <p:cNvCxnSpPr/>
          <p:nvPr/>
        </p:nvCxnSpPr>
        <p:spPr bwMode="auto">
          <a:xfrm>
            <a:off x="2583180" y="3101228"/>
            <a:ext cx="153394" cy="0"/>
          </a:xfrm>
          <a:prstGeom prst="line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7" name="Straight Connector 91">
            <a:extLst>
              <a:ext uri="{FF2B5EF4-FFF2-40B4-BE49-F238E27FC236}">
                <a16:creationId xmlns:a16="http://schemas.microsoft.com/office/drawing/2014/main" id="{E8F51984-B804-44E1-B409-52A8F1F34BB3}"/>
              </a:ext>
            </a:extLst>
          </p:cNvPr>
          <p:cNvCxnSpPr/>
          <p:nvPr/>
        </p:nvCxnSpPr>
        <p:spPr bwMode="auto">
          <a:xfrm>
            <a:off x="2583180" y="3423876"/>
            <a:ext cx="153394" cy="0"/>
          </a:xfrm>
          <a:prstGeom prst="line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8" name="Straight Connector 97">
            <a:extLst>
              <a:ext uri="{FF2B5EF4-FFF2-40B4-BE49-F238E27FC236}">
                <a16:creationId xmlns:a16="http://schemas.microsoft.com/office/drawing/2014/main" id="{B348821B-F9EC-446B-BD06-A71552F4B643}"/>
              </a:ext>
            </a:extLst>
          </p:cNvPr>
          <p:cNvCxnSpPr/>
          <p:nvPr/>
        </p:nvCxnSpPr>
        <p:spPr bwMode="auto">
          <a:xfrm>
            <a:off x="2595287" y="4145797"/>
            <a:ext cx="153394" cy="0"/>
          </a:xfrm>
          <a:prstGeom prst="line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99" name="Straight Connector 99">
            <a:extLst>
              <a:ext uri="{FF2B5EF4-FFF2-40B4-BE49-F238E27FC236}">
                <a16:creationId xmlns:a16="http://schemas.microsoft.com/office/drawing/2014/main" id="{77060E2E-1275-401E-A9D0-1154587F866B}"/>
              </a:ext>
            </a:extLst>
          </p:cNvPr>
          <p:cNvCxnSpPr/>
          <p:nvPr/>
        </p:nvCxnSpPr>
        <p:spPr bwMode="auto">
          <a:xfrm>
            <a:off x="2595287" y="4463657"/>
            <a:ext cx="153394" cy="0"/>
          </a:xfrm>
          <a:prstGeom prst="line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00" name="Rectangle 70">
            <a:extLst>
              <a:ext uri="{FF2B5EF4-FFF2-40B4-BE49-F238E27FC236}">
                <a16:creationId xmlns:a16="http://schemas.microsoft.com/office/drawing/2014/main" id="{9E25AC9C-0162-440B-8E3E-121028D46439}"/>
              </a:ext>
            </a:extLst>
          </p:cNvPr>
          <p:cNvSpPr>
            <a:spLocks noChangeArrowheads="1"/>
          </p:cNvSpPr>
          <p:nvPr/>
        </p:nvSpPr>
        <p:spPr bwMode="gray">
          <a:xfrm>
            <a:off x="2489773" y="3918081"/>
            <a:ext cx="105834" cy="135734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>
            <a:spAutoFit/>
          </a:bodyPr>
          <a:lstStyle/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M</a:t>
            </a:r>
          </a:p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 T</a:t>
            </a:r>
          </a:p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 W</a:t>
            </a:r>
          </a:p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 T</a:t>
            </a:r>
          </a:p>
          <a:p>
            <a:pPr algn="ctr" defTabSz="858507" fontAlgn="base">
              <a:spcBef>
                <a:spcPct val="0"/>
              </a:spcBef>
              <a:spcAft>
                <a:spcPct val="0"/>
              </a:spcAft>
              <a:buClr>
                <a:srgbClr val="000080"/>
              </a:buClr>
            </a:pPr>
            <a:r>
              <a:rPr lang="en-US" sz="980" dirty="0">
                <a:solidFill>
                  <a:srgbClr val="000080">
                    <a:lumMod val="50000"/>
                  </a:srgbClr>
                </a:solidFill>
                <a:latin typeface="Arial" charset="0"/>
                <a:cs typeface="Arial"/>
              </a:rPr>
              <a:t> F</a:t>
            </a:r>
          </a:p>
        </p:txBody>
      </p:sp>
      <p:cxnSp>
        <p:nvCxnSpPr>
          <p:cNvPr id="101" name="Straight Connector 101">
            <a:extLst>
              <a:ext uri="{FF2B5EF4-FFF2-40B4-BE49-F238E27FC236}">
                <a16:creationId xmlns:a16="http://schemas.microsoft.com/office/drawing/2014/main" id="{E6DDB676-AEA9-430D-827C-BE945CEF918B}"/>
              </a:ext>
            </a:extLst>
          </p:cNvPr>
          <p:cNvCxnSpPr/>
          <p:nvPr/>
        </p:nvCxnSpPr>
        <p:spPr bwMode="auto">
          <a:xfrm flipV="1">
            <a:off x="2534733" y="5401542"/>
            <a:ext cx="289027" cy="126"/>
          </a:xfrm>
          <a:prstGeom prst="line">
            <a:avLst/>
          </a:prstGeom>
          <a:solidFill>
            <a:srgbClr val="B6B6B6"/>
          </a:solidFill>
          <a:ln w="19050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2" name="Straight Connector 103">
            <a:extLst>
              <a:ext uri="{FF2B5EF4-FFF2-40B4-BE49-F238E27FC236}">
                <a16:creationId xmlns:a16="http://schemas.microsoft.com/office/drawing/2014/main" id="{35545A3F-4FF7-4894-8F23-2AB10F8CEA1C}"/>
              </a:ext>
            </a:extLst>
          </p:cNvPr>
          <p:cNvCxnSpPr/>
          <p:nvPr/>
        </p:nvCxnSpPr>
        <p:spPr bwMode="auto">
          <a:xfrm>
            <a:off x="2591248" y="4761162"/>
            <a:ext cx="153394" cy="0"/>
          </a:xfrm>
          <a:prstGeom prst="line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103" name="Straight Connector 105">
            <a:extLst>
              <a:ext uri="{FF2B5EF4-FFF2-40B4-BE49-F238E27FC236}">
                <a16:creationId xmlns:a16="http://schemas.microsoft.com/office/drawing/2014/main" id="{93D906A5-0599-4F80-A19B-0331B0A358F9}"/>
              </a:ext>
            </a:extLst>
          </p:cNvPr>
          <p:cNvCxnSpPr/>
          <p:nvPr/>
        </p:nvCxnSpPr>
        <p:spPr bwMode="auto">
          <a:xfrm>
            <a:off x="2591248" y="5079017"/>
            <a:ext cx="153394" cy="0"/>
          </a:xfrm>
          <a:prstGeom prst="line">
            <a:avLst/>
          </a:prstGeom>
          <a:solidFill>
            <a:srgbClr val="B6B6B6"/>
          </a:solidFill>
          <a:ln w="9525" cap="flat" cmpd="sng" algn="ctr">
            <a:solidFill>
              <a:srgbClr val="000080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</p:spTree>
    <p:extLst>
      <p:ext uri="{BB962C8B-B14F-4D97-AF65-F5344CB8AC3E}">
        <p14:creationId xmlns:p14="http://schemas.microsoft.com/office/powerpoint/2010/main" val="302994327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ubrik 5">
            <a:extLst>
              <a:ext uri="{FF2B5EF4-FFF2-40B4-BE49-F238E27FC236}">
                <a16:creationId xmlns:a16="http://schemas.microsoft.com/office/drawing/2014/main" id="{5A630E94-4202-42EB-9012-D991ACCE2E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Search</a:t>
            </a:r>
            <a:r>
              <a:rPr lang="sv-SE" dirty="0"/>
              <a:t> for </a:t>
            </a:r>
            <a:r>
              <a:rPr lang="sv-SE" dirty="0" err="1"/>
              <a:t>loads</a:t>
            </a:r>
            <a:r>
              <a:rPr lang="sv-SE" dirty="0"/>
              <a:t> in </a:t>
            </a:r>
            <a:r>
              <a:rPr lang="sv-SE" dirty="0" err="1"/>
              <a:t>Freightcost</a:t>
            </a:r>
            <a:r>
              <a:rPr lang="sv-SE" dirty="0"/>
              <a:t> </a:t>
            </a:r>
            <a:r>
              <a:rPr lang="sv-SE" dirty="0" err="1"/>
              <a:t>tab</a:t>
            </a:r>
            <a:endParaRPr lang="sv-SE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BF2E8D0E-5BC1-48E9-AF20-534AC71C4975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 fontAlgn="base">
              <a:lnSpc>
                <a:spcPct val="100000"/>
              </a:lnSpc>
              <a:spcBef>
                <a:spcPts val="600"/>
              </a:spcBef>
              <a:buClrTx/>
              <a:buNone/>
            </a:pPr>
            <a:r>
              <a:rPr lang="en-US" sz="1800" dirty="0">
                <a:solidFill>
                  <a:srgbClr val="009EE0"/>
                </a:solidFill>
                <a:latin typeface="Arial"/>
              </a:rPr>
              <a:t>To view cost for the shipments and transports, the user must have appropriate rights to use the FM functions.</a:t>
            </a:r>
          </a:p>
          <a:p>
            <a:pPr lvl="0" fontAlgn="base">
              <a:lnSpc>
                <a:spcPct val="100000"/>
              </a:lnSpc>
              <a:spcBef>
                <a:spcPts val="600"/>
              </a:spcBef>
              <a:buClr>
                <a:srgbClr val="4D4D4D"/>
              </a:buClr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rgbClr val="4D4D4D"/>
                </a:solidFill>
                <a:latin typeface="Arial"/>
              </a:rPr>
              <a:t>Open selection of billing cases.</a:t>
            </a:r>
          </a:p>
          <a:p>
            <a:pPr lvl="0" fontAlgn="base">
              <a:lnSpc>
                <a:spcPct val="100000"/>
              </a:lnSpc>
              <a:spcBef>
                <a:spcPts val="600"/>
              </a:spcBef>
              <a:buClr>
                <a:srgbClr val="4D4D4D"/>
              </a:buClr>
              <a:buFont typeface="Arial" panose="020B0604020202020204" pitchFamily="34" charset="0"/>
              <a:buAutoNum type="arabicPeriod"/>
            </a:pPr>
            <a:r>
              <a:rPr lang="de-DE" sz="1200" dirty="0">
                <a:solidFill>
                  <a:srgbClr val="4D4D4D"/>
                </a:solidFill>
                <a:latin typeface="Arial"/>
              </a:rPr>
              <a:t>Enter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the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appropriate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filter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criteria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to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search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for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the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relevant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shipments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and transports.</a:t>
            </a:r>
          </a:p>
          <a:p>
            <a:pPr lvl="0" fontAlgn="base">
              <a:lnSpc>
                <a:spcPct val="100000"/>
              </a:lnSpc>
              <a:spcBef>
                <a:spcPts val="600"/>
              </a:spcBef>
              <a:buClr>
                <a:srgbClr val="4D4D4D"/>
              </a:buClr>
              <a:buFont typeface="Arial" panose="020B0604020202020204" pitchFamily="34" charset="0"/>
              <a:buAutoNum type="arabicPeriod"/>
            </a:pPr>
            <a:r>
              <a:rPr lang="de-DE" sz="1200" dirty="0">
                <a:solidFill>
                  <a:srgbClr val="4D4D4D"/>
                </a:solidFill>
                <a:latin typeface="Arial"/>
              </a:rPr>
              <a:t>Execute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selection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of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billing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cases</a:t>
            </a:r>
            <a:endParaRPr lang="sv-SE" dirty="0"/>
          </a:p>
        </p:txBody>
      </p:sp>
      <p:sp>
        <p:nvSpPr>
          <p:cNvPr id="3" name="Platshållare för datum 2">
            <a:extLst>
              <a:ext uri="{FF2B5EF4-FFF2-40B4-BE49-F238E27FC236}">
                <a16:creationId xmlns:a16="http://schemas.microsoft.com/office/drawing/2014/main" id="{D88C2594-3AD7-41F3-9140-5269CAC8E86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4" name="Platshållare för sidfot 3">
            <a:extLst>
              <a:ext uri="{FF2B5EF4-FFF2-40B4-BE49-F238E27FC236}">
                <a16:creationId xmlns:a16="http://schemas.microsoft.com/office/drawing/2014/main" id="{588CDB00-773A-4C0B-B684-965C07ECD3F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Quick guide </a:t>
            </a:r>
            <a:r>
              <a:rPr lang="en-US" dirty="0" err="1"/>
              <a:t>selfbilling</a:t>
            </a:r>
            <a:endParaRPr lang="en-US" dirty="0"/>
          </a:p>
        </p:txBody>
      </p:sp>
      <p:sp>
        <p:nvSpPr>
          <p:cNvPr id="5" name="Platshållare för bildnummer 4">
            <a:extLst>
              <a:ext uri="{FF2B5EF4-FFF2-40B4-BE49-F238E27FC236}">
                <a16:creationId xmlns:a16="http://schemas.microsoft.com/office/drawing/2014/main" id="{C44BCAD0-8EA9-4BC5-BE08-81E9D849DC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45C71769-AA69-451B-A1F2-98A96B52EF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30195" y="1457988"/>
            <a:ext cx="6010141" cy="4893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065608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15">
            <a:extLst>
              <a:ext uri="{FF2B5EF4-FFF2-40B4-BE49-F238E27FC236}">
                <a16:creationId xmlns:a16="http://schemas.microsoft.com/office/drawing/2014/main" id="{C73AD36E-B74D-4C6F-9F29-CBE4BE99FE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 err="1"/>
              <a:t>Result</a:t>
            </a:r>
            <a:r>
              <a:rPr lang="sv-SE" dirty="0"/>
              <a:t> </a:t>
            </a:r>
            <a:r>
              <a:rPr lang="sv-SE" dirty="0" err="1"/>
              <a:t>of</a:t>
            </a:r>
            <a:r>
              <a:rPr lang="sv-SE" dirty="0"/>
              <a:t> </a:t>
            </a:r>
            <a:r>
              <a:rPr lang="sv-SE" dirty="0" err="1"/>
              <a:t>loads</a:t>
            </a:r>
            <a:r>
              <a:rPr lang="sv-SE" dirty="0"/>
              <a:t> in </a:t>
            </a:r>
            <a:r>
              <a:rPr lang="sv-SE" dirty="0" err="1"/>
              <a:t>Freightcost</a:t>
            </a:r>
            <a:r>
              <a:rPr lang="sv-SE" dirty="0"/>
              <a:t> </a:t>
            </a:r>
            <a:r>
              <a:rPr lang="sv-SE" dirty="0" err="1"/>
              <a:t>tab</a:t>
            </a:r>
            <a:endParaRPr lang="sv-SE" dirty="0"/>
          </a:p>
        </p:txBody>
      </p:sp>
      <p:sp>
        <p:nvSpPr>
          <p:cNvPr id="17" name="Content Placeholder 16">
            <a:extLst>
              <a:ext uri="{FF2B5EF4-FFF2-40B4-BE49-F238E27FC236}">
                <a16:creationId xmlns:a16="http://schemas.microsoft.com/office/drawing/2014/main" id="{23EDD6E9-6886-4A2F-A54D-0FE88704C331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lvl="0" indent="0" fontAlgn="base">
              <a:lnSpc>
                <a:spcPct val="100000"/>
              </a:lnSpc>
              <a:spcBef>
                <a:spcPts val="600"/>
              </a:spcBef>
              <a:buClr>
                <a:srgbClr val="006AB2"/>
              </a:buClr>
              <a:buNone/>
            </a:pPr>
            <a:r>
              <a:rPr lang="en-US" sz="1800" dirty="0">
                <a:solidFill>
                  <a:srgbClr val="009EE0"/>
                </a:solidFill>
                <a:latin typeface="Arial"/>
              </a:rPr>
              <a:t>Result of the selection are shown in the overview of billing cases.</a:t>
            </a:r>
          </a:p>
          <a:p>
            <a:pPr lvl="0" fontAlgn="base">
              <a:lnSpc>
                <a:spcPct val="100000"/>
              </a:lnSpc>
              <a:spcBef>
                <a:spcPts val="600"/>
              </a:spcBef>
              <a:buClr>
                <a:srgbClr val="4D4D4D"/>
              </a:buClr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rgbClr val="4D4D4D"/>
                </a:solidFill>
                <a:latin typeface="Arial"/>
              </a:rPr>
              <a:t>Total calculated and accepted costs are shown for each billing case.</a:t>
            </a:r>
          </a:p>
          <a:p>
            <a:pPr lvl="0" fontAlgn="base">
              <a:lnSpc>
                <a:spcPct val="100000"/>
              </a:lnSpc>
              <a:spcBef>
                <a:spcPts val="600"/>
              </a:spcBef>
              <a:buClr>
                <a:srgbClr val="4D4D4D"/>
              </a:buClr>
              <a:buFont typeface="Arial" panose="020B0604020202020204" pitchFamily="34" charset="0"/>
              <a:buAutoNum type="arabicPeriod"/>
            </a:pPr>
            <a:r>
              <a:rPr lang="en-US" sz="1200" dirty="0">
                <a:solidFill>
                  <a:srgbClr val="4D4D4D"/>
                </a:solidFill>
                <a:latin typeface="Arial"/>
              </a:rPr>
              <a:t>Open cost details for a single billing case by clicking on the hyperlinked order number.</a:t>
            </a:r>
          </a:p>
          <a:p>
            <a:pPr lvl="0" fontAlgn="base">
              <a:lnSpc>
                <a:spcPct val="100000"/>
              </a:lnSpc>
              <a:spcBef>
                <a:spcPts val="600"/>
              </a:spcBef>
              <a:buClr>
                <a:srgbClr val="4D4D4D"/>
              </a:buClr>
              <a:buFont typeface="Arial" panose="020B0604020202020204" pitchFamily="34" charset="0"/>
              <a:buAutoNum type="arabicPeriod"/>
            </a:pPr>
            <a:r>
              <a:rPr lang="de-DE" sz="1200" dirty="0" err="1">
                <a:solidFill>
                  <a:srgbClr val="4D4D4D"/>
                </a:solidFill>
                <a:latin typeface="Arial"/>
              </a:rPr>
              <a:t>Alternatively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, open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the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rating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unit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detail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,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depending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on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the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actual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case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.</a:t>
            </a:r>
            <a:r>
              <a:rPr lang="en-US" sz="1200" dirty="0">
                <a:solidFill>
                  <a:srgbClr val="4D4D4D"/>
                </a:solidFill>
                <a:latin typeface="Arial"/>
              </a:rPr>
              <a:t> </a:t>
            </a:r>
          </a:p>
          <a:p>
            <a:pPr lvl="0" fontAlgn="base">
              <a:lnSpc>
                <a:spcPct val="100000"/>
              </a:lnSpc>
              <a:spcBef>
                <a:spcPts val="600"/>
              </a:spcBef>
              <a:buClr>
                <a:srgbClr val="4D4D4D"/>
              </a:buClr>
              <a:buFont typeface="Arial" panose="020B0604020202020204" pitchFamily="34" charset="0"/>
              <a:buAutoNum type="arabicPeriod"/>
            </a:pPr>
            <a:r>
              <a:rPr lang="de-DE" sz="1200" dirty="0">
                <a:solidFill>
                  <a:srgbClr val="4D4D4D"/>
                </a:solidFill>
                <a:latin typeface="Arial"/>
              </a:rPr>
              <a:t>Billing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case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 </a:t>
            </a:r>
            <a:r>
              <a:rPr lang="de-DE" sz="1200" dirty="0" err="1">
                <a:solidFill>
                  <a:srgbClr val="4D4D4D"/>
                </a:solidFill>
                <a:latin typeface="Arial"/>
              </a:rPr>
              <a:t>status</a:t>
            </a:r>
            <a:r>
              <a:rPr lang="de-DE" sz="1200" dirty="0">
                <a:solidFill>
                  <a:srgbClr val="4D4D4D"/>
                </a:solidFill>
                <a:latin typeface="Arial"/>
              </a:rPr>
              <a:t>.</a:t>
            </a:r>
            <a:endParaRPr lang="en-US" sz="1200" dirty="0">
              <a:solidFill>
                <a:srgbClr val="4D4D4D"/>
              </a:solidFill>
              <a:latin typeface="Arial"/>
            </a:endParaRPr>
          </a:p>
          <a:p>
            <a:endParaRPr lang="sv-SE" dirty="0"/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8C1F583-6DDD-4E69-A4B7-ADDD11CD07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898336" y="1787096"/>
            <a:ext cx="6827522" cy="2976493"/>
          </a:xfrm>
          <a:prstGeom prst="rect">
            <a:avLst/>
          </a:prstGeom>
        </p:spPr>
      </p:pic>
      <p:sp>
        <p:nvSpPr>
          <p:cNvPr id="22" name="Platshållare för datum 2">
            <a:extLst>
              <a:ext uri="{FF2B5EF4-FFF2-40B4-BE49-F238E27FC236}">
                <a16:creationId xmlns:a16="http://schemas.microsoft.com/office/drawing/2014/main" id="{22E2D817-8C19-45C9-A809-5872B91D575B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515936" y="6396945"/>
            <a:ext cx="1044000" cy="213783"/>
          </a:xfrm>
        </p:spPr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23" name="Platshållare för sidfot 3">
            <a:extLst>
              <a:ext uri="{FF2B5EF4-FFF2-40B4-BE49-F238E27FC236}">
                <a16:creationId xmlns:a16="http://schemas.microsoft.com/office/drawing/2014/main" id="{2FC96726-F5F4-4F4E-B550-AD98C538C76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1602096" y="6396945"/>
            <a:ext cx="6593660" cy="213783"/>
          </a:xfrm>
        </p:spPr>
        <p:txBody>
          <a:bodyPr/>
          <a:lstStyle/>
          <a:p>
            <a:r>
              <a:rPr lang="en-US" dirty="0"/>
              <a:t>Quick guide </a:t>
            </a:r>
            <a:r>
              <a:rPr lang="en-US" dirty="0" err="1"/>
              <a:t>selfbilling</a:t>
            </a:r>
            <a:endParaRPr lang="en-US" dirty="0"/>
          </a:p>
        </p:txBody>
      </p:sp>
      <p:sp>
        <p:nvSpPr>
          <p:cNvPr id="24" name="Platshållare för bildnummer 4">
            <a:extLst>
              <a:ext uri="{FF2B5EF4-FFF2-40B4-BE49-F238E27FC236}">
                <a16:creationId xmlns:a16="http://schemas.microsoft.com/office/drawing/2014/main" id="{FE38609F-2190-4A5D-A1FA-C141C83DF3B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69226" y="6396945"/>
            <a:ext cx="506835" cy="213783"/>
          </a:xfrm>
        </p:spPr>
        <p:txBody>
          <a:bodyPr/>
          <a:lstStyle/>
          <a:p>
            <a:fld id="{0183C6E6-4335-4428-AB21-BBACF8148F3A}" type="slidenum">
              <a:rPr lang="en-US" smtClean="0"/>
              <a:pPr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43552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ubrik 7">
            <a:extLst>
              <a:ext uri="{FF2B5EF4-FFF2-40B4-BE49-F238E27FC236}">
                <a16:creationId xmlns:a16="http://schemas.microsoft.com/office/drawing/2014/main" id="{4DAB352D-E2E8-4734-8E44-607F1CDB77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sv-SE" dirty="0"/>
              <a:t>Print PDF </a:t>
            </a:r>
            <a:r>
              <a:rPr lang="sv-SE" dirty="0" err="1"/>
              <a:t>invoices</a:t>
            </a:r>
            <a:r>
              <a:rPr lang="sv-SE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8C7F34-7618-4520-94ED-9A0234B90C7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0570" y="5207850"/>
            <a:ext cx="3487103" cy="1118273"/>
          </a:xfrm>
        </p:spPr>
        <p:txBody>
          <a:bodyPr/>
          <a:lstStyle/>
          <a:p>
            <a:pPr marL="342900" indent="-342900">
              <a:buFont typeface="+mj-lt"/>
              <a:buAutoNum type="arabicPeriod"/>
            </a:pPr>
            <a:r>
              <a:rPr lang="sv-SE" dirty="0" err="1"/>
              <a:t>Click</a:t>
            </a:r>
            <a:r>
              <a:rPr lang="sv-SE" dirty="0"/>
              <a:t> on </a:t>
            </a:r>
            <a:r>
              <a:rPr lang="sv-SE" dirty="0" err="1"/>
              <a:t>Freightcosts</a:t>
            </a:r>
            <a:endParaRPr lang="sv-SE" dirty="0"/>
          </a:p>
          <a:p>
            <a:pPr marL="342900" indent="-342900">
              <a:buFont typeface="+mj-lt"/>
              <a:buAutoNum type="arabicPeriod"/>
            </a:pPr>
            <a:r>
              <a:rPr lang="en-US" dirty="0"/>
              <a:t>Click the ”selection of bills” icon</a:t>
            </a:r>
            <a:endParaRPr lang="sv-SE" dirty="0"/>
          </a:p>
        </p:txBody>
      </p:sp>
      <p:sp>
        <p:nvSpPr>
          <p:cNvPr id="6" name="Platshållare för datum 5">
            <a:extLst>
              <a:ext uri="{FF2B5EF4-FFF2-40B4-BE49-F238E27FC236}">
                <a16:creationId xmlns:a16="http://schemas.microsoft.com/office/drawing/2014/main" id="{BFCB2FA0-F8D1-4A4A-8CD3-D9D14924C6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2" name="Platshållare för sidfot 1">
            <a:extLst>
              <a:ext uri="{FF2B5EF4-FFF2-40B4-BE49-F238E27FC236}">
                <a16:creationId xmlns:a16="http://schemas.microsoft.com/office/drawing/2014/main" id="{ABCBECA4-5E2F-4F11-BCB6-1E642E8A5EB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Quick guide </a:t>
            </a:r>
            <a:r>
              <a:rPr lang="en-US" dirty="0" err="1"/>
              <a:t>selfbilling</a:t>
            </a:r>
            <a:endParaRPr lang="en-US" dirty="0"/>
          </a:p>
        </p:txBody>
      </p:sp>
      <p:sp>
        <p:nvSpPr>
          <p:cNvPr id="7" name="Platshållare för bildnummer 6">
            <a:extLst>
              <a:ext uri="{FF2B5EF4-FFF2-40B4-BE49-F238E27FC236}">
                <a16:creationId xmlns:a16="http://schemas.microsoft.com/office/drawing/2014/main" id="{3B764751-58B7-4A39-8B79-37CA88796C5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t>5</a:t>
            </a:fld>
            <a:endParaRPr lang="en-US" dirty="0"/>
          </a:p>
        </p:txBody>
      </p:sp>
      <p:sp>
        <p:nvSpPr>
          <p:cNvPr id="19" name="Content Placeholder 18">
            <a:extLst>
              <a:ext uri="{FF2B5EF4-FFF2-40B4-BE49-F238E27FC236}">
                <a16:creationId xmlns:a16="http://schemas.microsoft.com/office/drawing/2014/main" id="{5025D822-F479-4A1E-AA33-FF7437BEE5DA}"/>
              </a:ext>
            </a:extLst>
          </p:cNvPr>
          <p:cNvSpPr>
            <a:spLocks noGrp="1"/>
          </p:cNvSpPr>
          <p:nvPr>
            <p:ph idx="13"/>
          </p:nvPr>
        </p:nvSpPr>
        <p:spPr>
          <a:xfrm>
            <a:off x="4348163" y="5202142"/>
            <a:ext cx="3487103" cy="1118274"/>
          </a:xfrm>
        </p:spPr>
        <p:txBody>
          <a:bodyPr/>
          <a:lstStyle/>
          <a:p>
            <a:pPr marL="342900" indent="-342900">
              <a:buFont typeface="+mj-lt"/>
              <a:buAutoNum type="arabicPeriod" startAt="3"/>
            </a:pPr>
            <a:r>
              <a:rPr lang="sv-SE" dirty="0" err="1"/>
              <a:t>Fill</a:t>
            </a:r>
            <a:r>
              <a:rPr lang="sv-SE" dirty="0"/>
              <a:t> in ”</a:t>
            </a:r>
            <a:r>
              <a:rPr lang="sv-SE" dirty="0" err="1"/>
              <a:t>Internal</a:t>
            </a:r>
            <a:r>
              <a:rPr lang="sv-SE" dirty="0"/>
              <a:t> bill no.”</a:t>
            </a:r>
          </a:p>
          <a:p>
            <a:pPr marL="342900" indent="-342900">
              <a:buFont typeface="+mj-lt"/>
              <a:buAutoNum type="arabicPeriod" startAt="3"/>
            </a:pPr>
            <a:r>
              <a:rPr lang="en-US" dirty="0"/>
              <a:t>Click the ”execute selection” icon</a:t>
            </a:r>
            <a:endParaRPr lang="sv-SE" dirty="0"/>
          </a:p>
        </p:txBody>
      </p:sp>
      <p:sp>
        <p:nvSpPr>
          <p:cNvPr id="20" name="Content Placeholder 19">
            <a:extLst>
              <a:ext uri="{FF2B5EF4-FFF2-40B4-BE49-F238E27FC236}">
                <a16:creationId xmlns:a16="http://schemas.microsoft.com/office/drawing/2014/main" id="{390901F1-FEBA-4218-864F-0E1A12BE0B47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8188958" y="5202142"/>
            <a:ext cx="3487103" cy="1118274"/>
          </a:xfrm>
        </p:spPr>
        <p:txBody>
          <a:bodyPr/>
          <a:lstStyle/>
          <a:p>
            <a:pPr marL="342900" indent="-342900">
              <a:buFont typeface="+mj-lt"/>
              <a:buAutoNum type="arabicPeriod" startAt="5"/>
            </a:pPr>
            <a:r>
              <a:rPr lang="en-US" dirty="0"/>
              <a:t>Click the ”show bill” icon</a:t>
            </a:r>
            <a:endParaRPr lang="sv-SE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B42ED4E7-1601-4743-A8B1-1316218E13B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927" y="1497874"/>
            <a:ext cx="4439154" cy="3627739"/>
          </a:xfrm>
          <a:prstGeom prst="rect">
            <a:avLst/>
          </a:prstGeom>
        </p:spPr>
      </p:pic>
      <p:pic>
        <p:nvPicPr>
          <p:cNvPr id="14" name="Picture 13">
            <a:extLst>
              <a:ext uri="{FF2B5EF4-FFF2-40B4-BE49-F238E27FC236}">
                <a16:creationId xmlns:a16="http://schemas.microsoft.com/office/drawing/2014/main" id="{AE973A6D-2395-451E-94E1-893018DCD3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204923" y="1500135"/>
            <a:ext cx="5424995" cy="2089148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591DD78C-7736-4E77-A689-D33795EE8860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204924" y="3676543"/>
            <a:ext cx="5424994" cy="144907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6A392BDC-F683-4057-99E9-7490A9D1AB7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312648" y="5749476"/>
            <a:ext cx="350689" cy="302131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CF1BAD61-87CA-415D-9C22-C6B8E7949E7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204923" y="5761279"/>
            <a:ext cx="290185" cy="290328"/>
          </a:xfrm>
          <a:prstGeom prst="rect">
            <a:avLst/>
          </a:prstGeom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DAC652A-5CC6-4246-B7E5-3408E79D465C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020002" y="5166152"/>
            <a:ext cx="298447" cy="2519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967198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AA51F9F-1769-49DE-A605-E00D71B00E0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19-01-28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BEA03A3-1964-488A-89CF-233FC25F69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dirty="0"/>
              <a:t>Quick guide </a:t>
            </a:r>
            <a:r>
              <a:rPr lang="en-US" dirty="0" err="1"/>
              <a:t>selfbilling</a:t>
            </a:r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B75A6FA-8D51-4B26-BF15-018141F47F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183C6E6-4335-4428-AB21-BBACF8148F3A}" type="slidenum">
              <a:rPr lang="en-US" smtClean="0"/>
              <a:pPr/>
              <a:t>6</a:t>
            </a:fld>
            <a:endParaRPr lang="en-US" dirty="0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10155B5-63D5-4160-AF92-3423CEDFB4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ntact information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66FE8B00-0320-45C2-9E5D-F7BB76D0105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96927062"/>
              </p:ext>
            </p:extLst>
          </p:nvPr>
        </p:nvGraphicFramePr>
        <p:xfrm>
          <a:off x="548021" y="2046571"/>
          <a:ext cx="11095957" cy="3215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379664">
                  <a:extLst>
                    <a:ext uri="{9D8B030D-6E8A-4147-A177-3AD203B41FA5}">
                      <a16:colId xmlns:a16="http://schemas.microsoft.com/office/drawing/2014/main" val="3097723365"/>
                    </a:ext>
                  </a:extLst>
                </a:gridCol>
                <a:gridCol w="3416969">
                  <a:extLst>
                    <a:ext uri="{9D8B030D-6E8A-4147-A177-3AD203B41FA5}">
                      <a16:colId xmlns:a16="http://schemas.microsoft.com/office/drawing/2014/main" val="802363373"/>
                    </a:ext>
                  </a:extLst>
                </a:gridCol>
                <a:gridCol w="5299324">
                  <a:extLst>
                    <a:ext uri="{9D8B030D-6E8A-4147-A177-3AD203B41FA5}">
                      <a16:colId xmlns:a16="http://schemas.microsoft.com/office/drawing/2014/main" val="46907959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Pick-up country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ransport typ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ntact email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3721163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GB" dirty="0"/>
                        <a:t>SE, NO, DK, FI, PL, EE, LV, L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2"/>
                        </a:rPr>
                        <a:t>inbound.transport-nordic@scania.com</a:t>
                      </a:r>
                      <a:r>
                        <a:rPr lang="en-US" sz="1800" dirty="0"/>
                        <a:t> 	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4918011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ackag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3"/>
                        </a:rPr>
                        <a:t>packaging.transports-nordic@scania.com</a:t>
                      </a:r>
                      <a:r>
                        <a:rPr lang="en-US" sz="1800" dirty="0"/>
                        <a:t> 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35948281"/>
                  </a:ext>
                </a:extLst>
              </a:tr>
              <a:tr h="370840">
                <a:tc rowSpan="2">
                  <a:txBody>
                    <a:bodyPr/>
                    <a:lstStyle/>
                    <a:p>
                      <a:r>
                        <a:rPr lang="en-GB" dirty="0"/>
                        <a:t>NL, BE, DE, GB, IE, FR, ES, PT, LU, IT, AT, CH, CZ, HU, RO, SK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nbound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4"/>
                        </a:rPr>
                        <a:t>inbound.transport-europe@scania.com</a:t>
                      </a:r>
                      <a:r>
                        <a:rPr lang="en-US" sz="1800" dirty="0"/>
                        <a:t> 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9018918"/>
                  </a:ext>
                </a:extLst>
              </a:tr>
              <a:tr h="370840">
                <a:tc v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ackag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5"/>
                        </a:rPr>
                        <a:t>packaging.transports-europe@scania.com</a:t>
                      </a:r>
                      <a:r>
                        <a:rPr lang="en-US" sz="1800" dirty="0"/>
                        <a:t> 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7836948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GB" dirty="0"/>
                        <a:t>-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omponents (all flows between Scania Production Units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sz="1800" dirty="0">
                          <a:hlinkClick r:id="rId6"/>
                        </a:rPr>
                        <a:t>component.planning@scania.com</a:t>
                      </a:r>
                      <a:r>
                        <a:rPr lang="en-US" sz="1800" dirty="0"/>
                        <a:t> </a:t>
                      </a:r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3257474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7303324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LANGUAGETEXTBOX" val="Eng US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G_VERSIONTEXTBOX" val="1.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p5Gr_LOq0.xm4Mtiqz8A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RHH_qri2kiEZUTtE8TU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oPAnWxh5U6u8V6rIK.ZzQ"/>
</p:tagLst>
</file>

<file path=ppt/theme/theme1.xml><?xml version="1.0" encoding="utf-8"?>
<a:theme xmlns:a="http://schemas.openxmlformats.org/drawingml/2006/main" name="Scania">
  <a:themeElements>
    <a:clrScheme name="Scania">
      <a:dk1>
        <a:sysClr val="windowText" lastClr="000000"/>
      </a:dk1>
      <a:lt1>
        <a:sysClr val="window" lastClr="FFFFFF"/>
      </a:lt1>
      <a:dk2>
        <a:srgbClr val="D6001C"/>
      </a:dk2>
      <a:lt2>
        <a:srgbClr val="CEB888"/>
      </a:lt2>
      <a:accent1>
        <a:srgbClr val="041E42"/>
      </a:accent1>
      <a:accent2>
        <a:srgbClr val="97999B"/>
      </a:accent2>
      <a:accent3>
        <a:srgbClr val="C8C9C7"/>
      </a:accent3>
      <a:accent4>
        <a:srgbClr val="E3520C"/>
      </a:accent4>
      <a:accent5>
        <a:srgbClr val="94A596"/>
      </a:accent5>
      <a:accent6>
        <a:srgbClr val="2C5234"/>
      </a:accent6>
      <a:hlink>
        <a:srgbClr val="281E42"/>
      </a:hlink>
      <a:folHlink>
        <a:srgbClr val="281E42"/>
      </a:folHlink>
    </a:clrScheme>
    <a:fontScheme name="Nordea">
      <a:majorFont>
        <a:latin typeface="Scania Office Headline Bold"/>
        <a:ea typeface=""/>
        <a:cs typeface=""/>
      </a:majorFont>
      <a:minorFont>
        <a:latin typeface="Scania Office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lnSpc>
            <a:spcPct val="90000"/>
          </a:lnSpc>
          <a:spcBef>
            <a:spcPts val="1200"/>
          </a:spcBef>
          <a:defRPr sz="24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rtlCol="0">
        <a:spAutoFit/>
      </a:bodyPr>
      <a:lstStyle>
        <a:defPPr>
          <a:lnSpc>
            <a:spcPct val="90000"/>
          </a:lnSpc>
          <a:spcBef>
            <a:spcPts val="1200"/>
          </a:spcBef>
          <a:defRPr sz="2400" dirty="0" err="1" smtClean="0">
            <a:solidFill>
              <a:schemeClr val="accent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cania16_9 - Scania Sans" id="{B6C047AE-0590-4D09-84F4-3230DFAF2DDA}" vid="{1D15E9BF-811A-4245-811C-DCA92409473D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650</TotalTime>
  <Words>388</Words>
  <Application>Microsoft Office PowerPoint</Application>
  <PresentationFormat>Widescreen</PresentationFormat>
  <Paragraphs>83</Paragraphs>
  <Slides>6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13" baseType="lpstr">
      <vt:lpstr>Arial</vt:lpstr>
      <vt:lpstr>Calibri</vt:lpstr>
      <vt:lpstr>Scania Office</vt:lpstr>
      <vt:lpstr>Scania Office Bold</vt:lpstr>
      <vt:lpstr>Scania Office Headline</vt:lpstr>
      <vt:lpstr>Scania Office Headline Bold</vt:lpstr>
      <vt:lpstr>Scania</vt:lpstr>
      <vt:lpstr>Quick guide Selfbilling</vt:lpstr>
      <vt:lpstr>Invoicing process</vt:lpstr>
      <vt:lpstr>Search for loads in Freightcost tab</vt:lpstr>
      <vt:lpstr>Result of loads in Freightcost tab</vt:lpstr>
      <vt:lpstr>Print PDF invoices </vt:lpstr>
      <vt:lpstr>Contact inform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len</dc:creator>
  <cp:lastModifiedBy>Holmén Karin</cp:lastModifiedBy>
  <cp:revision>125</cp:revision>
  <dcterms:created xsi:type="dcterms:W3CDTF">2016-06-16T12:38:47Z</dcterms:created>
  <dcterms:modified xsi:type="dcterms:W3CDTF">2019-02-26T11:2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a7f2ec83-e677-438d-afb7-4c7c0dbc872b_Enabled">
    <vt:lpwstr>True</vt:lpwstr>
  </property>
  <property fmtid="{D5CDD505-2E9C-101B-9397-08002B2CF9AE}" pid="3" name="MSIP_Label_a7f2ec83-e677-438d-afb7-4c7c0dbc872b_SiteId">
    <vt:lpwstr>3bc062e4-ac9d-4c17-b4dd-3aad637ff1ac</vt:lpwstr>
  </property>
  <property fmtid="{D5CDD505-2E9C-101B-9397-08002B2CF9AE}" pid="4" name="MSIP_Label_a7f2ec83-e677-438d-afb7-4c7c0dbc872b_Owner">
    <vt:lpwstr>Sven.Coenen@scania.com</vt:lpwstr>
  </property>
  <property fmtid="{D5CDD505-2E9C-101B-9397-08002B2CF9AE}" pid="5" name="MSIP_Label_a7f2ec83-e677-438d-afb7-4c7c0dbc872b_SetDate">
    <vt:lpwstr>2019-01-15T09:53:07.2715374Z</vt:lpwstr>
  </property>
  <property fmtid="{D5CDD505-2E9C-101B-9397-08002B2CF9AE}" pid="6" name="MSIP_Label_a7f2ec83-e677-438d-afb7-4c7c0dbc872b_Name">
    <vt:lpwstr>Internal</vt:lpwstr>
  </property>
  <property fmtid="{D5CDD505-2E9C-101B-9397-08002B2CF9AE}" pid="7" name="MSIP_Label_a7f2ec83-e677-438d-afb7-4c7c0dbc872b_Application">
    <vt:lpwstr>Microsoft Azure Information Protection</vt:lpwstr>
  </property>
  <property fmtid="{D5CDD505-2E9C-101B-9397-08002B2CF9AE}" pid="8" name="MSIP_Label_a7f2ec83-e677-438d-afb7-4c7c0dbc872b_Extended_MSFT_Method">
    <vt:lpwstr>Automatic</vt:lpwstr>
  </property>
  <property fmtid="{D5CDD505-2E9C-101B-9397-08002B2CF9AE}" pid="9" name="Sensitivity">
    <vt:lpwstr>Internal</vt:lpwstr>
  </property>
</Properties>
</file>